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25.xml" ContentType="application/vnd.openxmlformats-officedocument.presentationml.slide+xml"/>
  <Override PartName="/ppt/slides/slide2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1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32.xml" ContentType="application/vnd.openxmlformats-officedocument.presentationml.slide+xml"/>
  <Override PartName="/ppt/slides/slide31.xml" ContentType="application/vnd.openxmlformats-officedocument.presentationml.slide+xml"/>
  <Override PartName="/ppt/slides/slide30.xml" ContentType="application/vnd.openxmlformats-officedocument.presentationml.slide+xml"/>
  <Override PartName="/ppt/slides/slide29.xml" ContentType="application/vnd.openxmlformats-officedocument.presentationml.slide+xml"/>
  <Override PartName="/ppt/slides/slide28.xml" ContentType="application/vnd.openxmlformats-officedocument.presentationml.slide+xml"/>
  <Override PartName="/ppt/slides/slide9.xml" ContentType="application/vnd.openxmlformats-officedocument.presentationml.slide+xml"/>
  <Override PartName="/ppt/slides/slide3.xml" ContentType="application/vnd.openxmlformats-officedocument.presentationml.slide+xml"/>
  <Override PartName="/ppt/slides/slide11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18.xml" ContentType="application/vnd.openxmlformats-officedocument.presentationml.slide+xml"/>
  <Override PartName="/ppt/slides/slide10.xml" ContentType="application/vnd.openxmlformats-officedocument.presentationml.slide+xml"/>
  <Override PartName="/ppt/slides/slide17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6.xml" ContentType="application/vnd.openxmlformats-officedocument.presentationml.slide+xml"/>
  <Override PartName="/ppt/slideLayouts/slideLayout61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67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60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6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4.xml" ContentType="application/vnd.openxmlformats-officedocument.presentationml.tags+xml"/>
  <Override PartName="/ppt/tags/tag7.xml" ContentType="application/vnd.openxmlformats-officedocument.presentationml.tags+xml"/>
  <Override PartName="/ppt/tags/tag5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6.xml" ContentType="application/vnd.openxmlformats-officedocument.presentationml.tags+xml"/>
  <Override PartName="/ppt/tags/tag10.xml" ContentType="application/vnd.openxmlformats-officedocument.presentationml.tags+xml"/>
  <Override PartName="/ppt/tags/tag18.xml" ContentType="application/vnd.openxmlformats-officedocument.presentationml.tags+xml"/>
  <Override PartName="/ppt/tags/tag12.xml" ContentType="application/vnd.openxmlformats-officedocument.presentationml.tags+xml"/>
  <Override PartName="/docProps/custom.xml" ContentType="application/vnd.openxmlformats-officedocument.custom-propertie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41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3.xml" ContentType="application/vnd.openxmlformats-officedocument.presentationml.tags+xml"/>
  <Override PartName="/ppt/tags/tag47.xml" ContentType="application/vnd.openxmlformats-officedocument.presentationml.tags+xml"/>
  <Override PartName="/ppt/tags/tag42.xml" ContentType="application/vnd.openxmlformats-officedocument.presentationml.tags+xml"/>
  <Override PartName="/ppt/tags/tag48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1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09" r:id="rId3"/>
  </p:sldMasterIdLst>
  <p:notesMasterIdLst>
    <p:notesMasterId r:id="rId36"/>
  </p:notesMasterIdLst>
  <p:sldIdLst>
    <p:sldId id="256" r:id="rId4"/>
    <p:sldId id="257" r:id="rId5"/>
    <p:sldId id="303" r:id="rId6"/>
    <p:sldId id="302" r:id="rId7"/>
    <p:sldId id="304" r:id="rId8"/>
    <p:sldId id="305" r:id="rId9"/>
    <p:sldId id="306" r:id="rId10"/>
    <p:sldId id="307" r:id="rId11"/>
    <p:sldId id="308" r:id="rId12"/>
    <p:sldId id="309" r:id="rId13"/>
    <p:sldId id="311" r:id="rId14"/>
    <p:sldId id="312" r:id="rId15"/>
    <p:sldId id="313" r:id="rId16"/>
    <p:sldId id="314" r:id="rId17"/>
    <p:sldId id="315" r:id="rId18"/>
    <p:sldId id="316" r:id="rId19"/>
    <p:sldId id="317" r:id="rId20"/>
    <p:sldId id="319" r:id="rId21"/>
    <p:sldId id="320" r:id="rId22"/>
    <p:sldId id="321" r:id="rId23"/>
    <p:sldId id="322" r:id="rId24"/>
    <p:sldId id="323" r:id="rId25"/>
    <p:sldId id="324" r:id="rId26"/>
    <p:sldId id="325" r:id="rId27"/>
    <p:sldId id="326" r:id="rId28"/>
    <p:sldId id="327" r:id="rId29"/>
    <p:sldId id="328" r:id="rId30"/>
    <p:sldId id="331" r:id="rId31"/>
    <p:sldId id="330" r:id="rId32"/>
    <p:sldId id="332" r:id="rId33"/>
    <p:sldId id="333" r:id="rId34"/>
    <p:sldId id="263" r:id="rId35"/>
  </p:sldIdLst>
  <p:sldSz cx="16202025" cy="9001125"/>
  <p:notesSz cx="6858000" cy="9144000"/>
  <p:custDataLst>
    <p:tags r:id="rId37"/>
  </p:custDataLst>
  <p:defaultTextStyle>
    <a:defPPr>
      <a:defRPr lang="es-CL"/>
    </a:defPPr>
    <a:lvl1pPr marL="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72009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144018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216027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288036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360045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432054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504063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576072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EnNSlniS90qM05VYgcduQw==" hashData="1BAjVtYcSeZ+1eEsjHBGyZlfV0+vpyVeEtg/Lwkhih7RxZTc++KLabkYDM52Gqw5RnegXKDcl5bjGmWwgA0F+Q=="/>
  <p:extLst>
    <p:ext uri="{EFAFB233-063F-42B5-8137-9DF3F51BA10A}">
      <p15:sldGuideLst xmlns:p15="http://schemas.microsoft.com/office/powerpoint/2012/main">
        <p15:guide id="1" orient="horz" pos="250">
          <p15:clr>
            <a:srgbClr val="A4A3A4"/>
          </p15:clr>
        </p15:guide>
        <p15:guide id="2" orient="horz" pos="5375">
          <p15:clr>
            <a:srgbClr val="A4A3A4"/>
          </p15:clr>
        </p15:guide>
        <p15:guide id="3" orient="horz" pos="839">
          <p15:clr>
            <a:srgbClr val="A4A3A4"/>
          </p15:clr>
        </p15:guide>
        <p15:guide id="4" orient="horz" pos="1021">
          <p15:clr>
            <a:srgbClr val="A4A3A4"/>
          </p15:clr>
        </p15:guide>
        <p15:guide id="5" pos="340">
          <p15:clr>
            <a:srgbClr val="A4A3A4"/>
          </p15:clr>
        </p15:guide>
        <p15:guide id="6" pos="9911">
          <p15:clr>
            <a:srgbClr val="A4A3A4"/>
          </p15:clr>
        </p15:guide>
        <p15:guide id="7" pos="2381">
          <p15:clr>
            <a:srgbClr val="A4A3A4"/>
          </p15:clr>
        </p15:guide>
        <p15:guide id="8" pos="260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DE"/>
    <a:srgbClr val="15C047"/>
    <a:srgbClr val="0C662F"/>
    <a:srgbClr val="000000"/>
    <a:srgbClr val="84B727"/>
    <a:srgbClr val="8ECFD0"/>
    <a:srgbClr val="A6A6A6"/>
    <a:srgbClr val="F2E500"/>
    <a:srgbClr val="004B53"/>
    <a:srgbClr val="8D0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309" autoAdjust="0"/>
    <p:restoredTop sz="94660"/>
  </p:normalViewPr>
  <p:slideViewPr>
    <p:cSldViewPr>
      <p:cViewPr varScale="1">
        <p:scale>
          <a:sx n="78" d="100"/>
          <a:sy n="78" d="100"/>
        </p:scale>
        <p:origin x="182" y="130"/>
      </p:cViewPr>
      <p:guideLst>
        <p:guide orient="horz" pos="250"/>
        <p:guide orient="horz" pos="5375"/>
        <p:guide orient="horz" pos="839"/>
        <p:guide orient="horz" pos="1021"/>
        <p:guide pos="340"/>
        <p:guide pos="9911"/>
        <p:guide pos="2381"/>
        <p:guide pos="260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viewProps" Target="viewProp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customXml" Target="../customXml/item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customXml" Target="../customXml/item3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customXml" Target="../customXml/item2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19BDEC-D5F1-48D1-BE8A-46E3339F7C0E}" type="datetimeFigureOut">
              <a:rPr lang="es-CL" smtClean="0"/>
              <a:t>25-03-2024</a:t>
            </a:fld>
            <a:endParaRPr lang="es-C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685800"/>
            <a:ext cx="61722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BD9BE5-650B-45F0-8090-C917A304833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64196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72009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144018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216027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288036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360045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432054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504063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576072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57700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5152" y="2796183"/>
            <a:ext cx="13771721" cy="19294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30304" y="5100637"/>
            <a:ext cx="11341418" cy="230028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720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40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60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00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20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040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760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5-03-2024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945754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5-03-2024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3831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0815102" y="472977"/>
            <a:ext cx="6458307" cy="100804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34555" y="472977"/>
            <a:ext cx="19110514" cy="100804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5-03-2024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913411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>
              <a:defRPr sz="11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>
              <a:solidFill>
                <a:srgbClr val="61616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2A9E4BC-2725-7D4A-800A-04015E2A9C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5A71D66A-548A-4E45-A797-319F6B855B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127168A3-0CDD-3842-A871-01C336DA32CE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F012D428-C8D1-7949-B8BA-EDFE6ACDFE4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2371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xmlns="" id="{FF98E1B1-3B0B-3241-93AC-BE8D1054EBCA}"/>
              </a:ext>
            </a:extLst>
          </p:cNvPr>
          <p:cNvSpPr txBox="1"/>
          <p:nvPr/>
        </p:nvSpPr>
        <p:spPr>
          <a:xfrm>
            <a:off x="14478349" y="7287581"/>
            <a:ext cx="1254208" cy="7843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2927" tIns="32927" rIns="32927" bIns="32927" anchor="ctr">
            <a:spAutoFit/>
          </a:bodyPr>
          <a:lstStyle/>
          <a:p>
            <a:pPr defTabSz="1200150">
              <a:spcBef>
                <a:spcPts val="778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555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555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</a:t>
            </a:r>
            <a:r>
              <a:rPr sz="1555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Chilena</a:t>
            </a:r>
            <a:r>
              <a:rPr sz="1555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de </a:t>
            </a:r>
            <a:r>
              <a:rPr sz="1555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Seguridad</a:t>
            </a:r>
            <a:endParaRPr sz="1555" b="1" dirty="0">
              <a:solidFill>
                <a:srgbClr val="83B727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xmlns="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4701" y="-12500"/>
            <a:ext cx="13929945" cy="90136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E516A13A-EE62-714D-B8F2-66374C530E6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36437" y="593827"/>
            <a:ext cx="1058111" cy="1045048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xmlns="" id="{B8906DF6-FBF4-AC40-830F-E54C334DA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481" y="932136"/>
            <a:ext cx="7864321" cy="1721531"/>
          </a:xfrm>
          <a:prstGeom prst="rect">
            <a:avLst/>
          </a:prstGeom>
        </p:spPr>
        <p:txBody>
          <a:bodyPr/>
          <a:lstStyle>
            <a:lvl1pPr>
              <a:lnSpc>
                <a:spcPts val="4213"/>
              </a:lnSpc>
              <a:defRPr sz="3889"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3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415849" y="8277971"/>
            <a:ext cx="1381613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63355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osición de imagen 4">
            <a:extLst>
              <a:ext uri="{FF2B5EF4-FFF2-40B4-BE49-F238E27FC236}">
                <a16:creationId xmlns:a16="http://schemas.microsoft.com/office/drawing/2014/main" xmlns="" id="{1DF01602-55BE-7145-87D0-D59AB1381C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13890625" cy="9001125"/>
          </a:xfrm>
        </p:spPr>
        <p:txBody>
          <a:bodyPr>
            <a:normAutofit/>
          </a:bodyPr>
          <a:lstStyle>
            <a:lvl1pPr>
              <a:defRPr sz="2765"/>
            </a:lvl1pPr>
          </a:lstStyle>
          <a:p>
            <a:r>
              <a:rPr lang="es-ES"/>
              <a:t>Haga clic en el icono para agregar una imagen</a:t>
            </a:r>
            <a:endParaRPr lang="es-ES_tradnl" dirty="0"/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B0334AC3-1221-0D47-8376-248BE6D996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xmlns="" id="{FF98E1B1-3B0B-3241-93AC-BE8D1054EBCA}"/>
              </a:ext>
            </a:extLst>
          </p:cNvPr>
          <p:cNvSpPr txBox="1"/>
          <p:nvPr/>
        </p:nvSpPr>
        <p:spPr>
          <a:xfrm>
            <a:off x="14478349" y="7287581"/>
            <a:ext cx="1254208" cy="7843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2927" tIns="32927" rIns="32927" bIns="32927" anchor="ctr">
            <a:spAutoFit/>
          </a:bodyPr>
          <a:lstStyle/>
          <a:p>
            <a:pPr defTabSz="1200150">
              <a:spcBef>
                <a:spcPts val="778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555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555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</a:t>
            </a:r>
            <a:r>
              <a:rPr sz="1555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Chilena</a:t>
            </a:r>
            <a:r>
              <a:rPr sz="1555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de </a:t>
            </a:r>
            <a:r>
              <a:rPr sz="1555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Seguridad</a:t>
            </a:r>
            <a:endParaRPr sz="1555" b="1" dirty="0">
              <a:solidFill>
                <a:srgbClr val="83B727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E516A13A-EE62-714D-B8F2-66374C530E6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36437" y="593827"/>
            <a:ext cx="1058111" cy="1045048"/>
          </a:xfrm>
          <a:prstGeom prst="rect">
            <a:avLst/>
          </a:prstGeom>
        </p:spPr>
      </p:pic>
      <p:sp>
        <p:nvSpPr>
          <p:cNvPr id="16" name="Título 1">
            <a:extLst>
              <a:ext uri="{FF2B5EF4-FFF2-40B4-BE49-F238E27FC236}">
                <a16:creationId xmlns:a16="http://schemas.microsoft.com/office/drawing/2014/main" xmlns="" id="{D10FCCA8-322A-C443-B02C-264CC9F3E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481" y="932133"/>
            <a:ext cx="7864321" cy="1788206"/>
          </a:xfrm>
          <a:prstGeom prst="rect">
            <a:avLst/>
          </a:prstGeom>
        </p:spPr>
        <p:txBody>
          <a:bodyPr anchor="t"/>
          <a:lstStyle>
            <a:lvl1pPr algn="l">
              <a:lnSpc>
                <a:spcPts val="4213"/>
              </a:lnSpc>
              <a:defRPr sz="3938" b="1" baseline="0">
                <a:solidFill>
                  <a:schemeClr val="bg1"/>
                </a:solidFill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3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415849" y="8277971"/>
            <a:ext cx="1381613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60913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875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xmlns="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834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tivos 3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xmlns="" id="{5A6D60D2-2296-5945-875B-EFE4B97EFF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:a16="http://schemas.microsoft.com/office/drawing/2014/main" xmlns="" id="{832578E3-BC08-FD4F-8D2A-99D9B2768843}"/>
              </a:ext>
            </a:extLst>
          </p:cNvPr>
          <p:cNvSpPr/>
          <p:nvPr/>
        </p:nvSpPr>
        <p:spPr>
          <a:xfrm flipH="1" flipV="1">
            <a:off x="6497690" y="2300979"/>
            <a:ext cx="13939" cy="6948002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r>
              <a:rPr lang="es-ES" sz="1555" dirty="0">
                <a:solidFill>
                  <a:srgbClr val="0C662F"/>
                </a:solidFill>
                <a:ea typeface="Arial"/>
                <a:cs typeface="Arial"/>
                <a:sym typeface="Arial"/>
              </a:rPr>
              <a:t>z</a:t>
            </a:r>
            <a:endParaRPr sz="1555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602158"/>
            <a:ext cx="4689333" cy="94500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spcBef>
                <a:spcPts val="778"/>
              </a:spcBef>
              <a:spcAft>
                <a:spcPts val="778"/>
              </a:spcAft>
              <a:defRPr sz="3111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4" name="Círculo">
            <a:extLst>
              <a:ext uri="{FF2B5EF4-FFF2-40B4-BE49-F238E27FC236}">
                <a16:creationId xmlns:a16="http://schemas.microsoft.com/office/drawing/2014/main" xmlns="" id="{BBD7799B-2501-484A-BE95-7AFA110DBA90}"/>
              </a:ext>
            </a:extLst>
          </p:cNvPr>
          <p:cNvSpPr/>
          <p:nvPr/>
        </p:nvSpPr>
        <p:spPr>
          <a:xfrm>
            <a:off x="6223436" y="2137769"/>
            <a:ext cx="547452" cy="540694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1"/>
            </a:solidFill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074" b="1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1">
            <a:extLst>
              <a:ext uri="{FF2B5EF4-FFF2-40B4-BE49-F238E27FC236}">
                <a16:creationId xmlns:a16="http://schemas.microsoft.com/office/drawing/2014/main" xmlns="" id="{71FA3B16-AB97-0F4C-939B-3F0F7FD107FC}"/>
              </a:ext>
            </a:extLst>
          </p:cNvPr>
          <p:cNvSpPr txBox="1"/>
          <p:nvPr/>
        </p:nvSpPr>
        <p:spPr>
          <a:xfrm>
            <a:off x="6332772" y="2205946"/>
            <a:ext cx="341761" cy="4653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2927" tIns="32927" rIns="32927" bIns="32927" anchor="ctr">
            <a:spAutoFit/>
          </a:bodyPr>
          <a:lstStyle>
            <a:lvl1pPr algn="ctr" defTabSz="1828800">
              <a:spcBef>
                <a:spcPts val="0"/>
              </a:spcBef>
              <a:defRPr sz="4000">
                <a:solidFill>
                  <a:srgbClr val="34773C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592" dirty="0">
                <a:solidFill>
                  <a:srgbClr val="0C662F"/>
                </a:solidFill>
              </a:rPr>
              <a:t>1</a:t>
            </a:r>
          </a:p>
        </p:txBody>
      </p:sp>
      <p:sp>
        <p:nvSpPr>
          <p:cNvPr id="6" name="Círculo">
            <a:extLst>
              <a:ext uri="{FF2B5EF4-FFF2-40B4-BE49-F238E27FC236}">
                <a16:creationId xmlns:a16="http://schemas.microsoft.com/office/drawing/2014/main" xmlns="" id="{940EDA27-F965-8A45-B802-8C71FC5E065A}"/>
              </a:ext>
            </a:extLst>
          </p:cNvPr>
          <p:cNvSpPr/>
          <p:nvPr/>
        </p:nvSpPr>
        <p:spPr>
          <a:xfrm>
            <a:off x="6223436" y="5098849"/>
            <a:ext cx="547452" cy="540694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1"/>
            </a:solidFill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074" b="1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2">
            <a:extLst>
              <a:ext uri="{FF2B5EF4-FFF2-40B4-BE49-F238E27FC236}">
                <a16:creationId xmlns:a16="http://schemas.microsoft.com/office/drawing/2014/main" xmlns="" id="{2FB37367-B189-B244-9457-9FDFCDEC7CA5}"/>
              </a:ext>
            </a:extLst>
          </p:cNvPr>
          <p:cNvSpPr txBox="1"/>
          <p:nvPr/>
        </p:nvSpPr>
        <p:spPr>
          <a:xfrm>
            <a:off x="6380339" y="5166346"/>
            <a:ext cx="341761" cy="4653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2927" tIns="32927" rIns="32927" bIns="32927" anchor="ctr">
            <a:spAutoFit/>
          </a:bodyPr>
          <a:lstStyle>
            <a:lvl1pPr algn="ctr" defTabSz="1828800">
              <a:spcBef>
                <a:spcPts val="0"/>
              </a:spcBef>
              <a:defRPr sz="4000">
                <a:solidFill>
                  <a:srgbClr val="34773C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/>
            <a:r>
              <a:rPr sz="2592" dirty="0">
                <a:solidFill>
                  <a:srgbClr val="0C662F"/>
                </a:solidFill>
              </a:rPr>
              <a:t>2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55835" y="2300981"/>
            <a:ext cx="7125538" cy="21995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32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4,5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55835" y="5098849"/>
            <a:ext cx="7125538" cy="24260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32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7" name="Marcador de número de diapositiva 16">
            <a:extLst>
              <a:ext uri="{FF2B5EF4-FFF2-40B4-BE49-F238E27FC236}">
                <a16:creationId xmlns:a16="http://schemas.microsoft.com/office/drawing/2014/main" xmlns="" id="{5CCDAD89-9825-BA44-ADFA-23F68B55EDD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xmlns="" id="{5D8EA583-926E-F64A-B00A-ACFB5CA6DE2B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116085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xmlns="" id="{8C5653FB-0B55-DF49-89A0-7BB644B8BB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:a16="http://schemas.microsoft.com/office/drawing/2014/main" xmlns="" id="{832578E3-BC08-FD4F-8D2A-99D9B2768843}"/>
              </a:ext>
            </a:extLst>
          </p:cNvPr>
          <p:cNvSpPr/>
          <p:nvPr/>
        </p:nvSpPr>
        <p:spPr>
          <a:xfrm flipV="1">
            <a:off x="6497690" y="2611389"/>
            <a:ext cx="0" cy="6389737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grpSp>
        <p:nvGrpSpPr>
          <p:cNvPr id="14" name="Grupo 13">
            <a:extLst>
              <a:ext uri="{FF2B5EF4-FFF2-40B4-BE49-F238E27FC236}">
                <a16:creationId xmlns:a16="http://schemas.microsoft.com/office/drawing/2014/main" xmlns="" id="{C592BB51-2F5B-334B-BBF2-932383E7DC3A}"/>
              </a:ext>
            </a:extLst>
          </p:cNvPr>
          <p:cNvGrpSpPr/>
          <p:nvPr/>
        </p:nvGrpSpPr>
        <p:grpSpPr>
          <a:xfrm>
            <a:off x="6223436" y="2543632"/>
            <a:ext cx="547452" cy="540693"/>
            <a:chOff x="4683126" y="1171576"/>
            <a:chExt cx="411957" cy="411957"/>
          </a:xfrm>
        </p:grpSpPr>
        <p:sp>
          <p:nvSpPr>
            <p:cNvPr id="4" name="Círculo">
              <a:extLst>
                <a:ext uri="{FF2B5EF4-FFF2-40B4-BE49-F238E27FC236}">
                  <a16:creationId xmlns:a16="http://schemas.microsoft.com/office/drawing/2014/main" xmlns="" id="{BBD7799B-2501-484A-BE95-7AFA110DBA90}"/>
                </a:ext>
              </a:extLst>
            </p:cNvPr>
            <p:cNvSpPr/>
            <p:nvPr/>
          </p:nvSpPr>
          <p:spPr>
            <a:xfrm>
              <a:off x="4683126" y="1171576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" name="1">
              <a:extLst>
                <a:ext uri="{FF2B5EF4-FFF2-40B4-BE49-F238E27FC236}">
                  <a16:creationId xmlns:a16="http://schemas.microsoft.com/office/drawing/2014/main" xmlns="" id="{71FA3B16-AB97-0F4C-939B-3F0F7FD107FC}"/>
                </a:ext>
              </a:extLst>
            </p:cNvPr>
            <p:cNvSpPr txBox="1"/>
            <p:nvPr/>
          </p:nvSpPr>
          <p:spPr>
            <a:xfrm>
              <a:off x="4765400" y="1229312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2592" dirty="0">
                  <a:solidFill>
                    <a:srgbClr val="0C662F"/>
                  </a:solidFill>
                </a:rPr>
                <a:t>1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xmlns="" id="{FAB304E8-1144-CE48-B0B0-2E7C02F312F2}"/>
              </a:ext>
            </a:extLst>
          </p:cNvPr>
          <p:cNvGrpSpPr/>
          <p:nvPr/>
        </p:nvGrpSpPr>
        <p:grpSpPr>
          <a:xfrm>
            <a:off x="6223436" y="4460788"/>
            <a:ext cx="547452" cy="540693"/>
            <a:chOff x="4683126" y="2517775"/>
            <a:chExt cx="411957" cy="411957"/>
          </a:xfrm>
        </p:grpSpPr>
        <p:sp>
          <p:nvSpPr>
            <p:cNvPr id="6" name="Círculo">
              <a:extLst>
                <a:ext uri="{FF2B5EF4-FFF2-40B4-BE49-F238E27FC236}">
                  <a16:creationId xmlns:a16="http://schemas.microsoft.com/office/drawing/2014/main" xmlns="" id="{940EDA27-F965-8A45-B802-8C71FC5E065A}"/>
                </a:ext>
              </a:extLst>
            </p:cNvPr>
            <p:cNvSpPr/>
            <p:nvPr/>
          </p:nvSpPr>
          <p:spPr>
            <a:xfrm>
              <a:off x="4683126" y="2517775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7" name="2">
              <a:extLst>
                <a:ext uri="{FF2B5EF4-FFF2-40B4-BE49-F238E27FC236}">
                  <a16:creationId xmlns:a16="http://schemas.microsoft.com/office/drawing/2014/main" xmlns="" id="{2FB37367-B189-B244-9457-9FDFCDEC7CA5}"/>
                </a:ext>
              </a:extLst>
            </p:cNvPr>
            <p:cNvSpPr txBox="1"/>
            <p:nvPr/>
          </p:nvSpPr>
          <p:spPr>
            <a:xfrm>
              <a:off x="4801194" y="2574993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algn="l"/>
              <a:r>
                <a:rPr sz="2592" dirty="0">
                  <a:solidFill>
                    <a:srgbClr val="0C662F"/>
                  </a:solidFill>
                </a:rPr>
                <a:t>2</a:t>
              </a:r>
            </a:p>
          </p:txBody>
        </p: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xmlns="" id="{D5CFF926-8B63-D34A-8E42-1AFC9B870E90}"/>
              </a:ext>
            </a:extLst>
          </p:cNvPr>
          <p:cNvGrpSpPr/>
          <p:nvPr/>
        </p:nvGrpSpPr>
        <p:grpSpPr>
          <a:xfrm>
            <a:off x="6223436" y="6377944"/>
            <a:ext cx="547452" cy="540693"/>
            <a:chOff x="4683126" y="3863974"/>
            <a:chExt cx="411957" cy="411957"/>
          </a:xfrm>
        </p:grpSpPr>
        <p:sp>
          <p:nvSpPr>
            <p:cNvPr id="11" name="Círculo">
              <a:extLst>
                <a:ext uri="{FF2B5EF4-FFF2-40B4-BE49-F238E27FC236}">
                  <a16:creationId xmlns:a16="http://schemas.microsoft.com/office/drawing/2014/main" xmlns="" id="{7C3D1EB8-A4AC-F046-91CA-6E661DAD119E}"/>
                </a:ext>
              </a:extLst>
            </p:cNvPr>
            <p:cNvSpPr/>
            <p:nvPr/>
          </p:nvSpPr>
          <p:spPr>
            <a:xfrm>
              <a:off x="4683126" y="3863974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2">
              <a:extLst>
                <a:ext uri="{FF2B5EF4-FFF2-40B4-BE49-F238E27FC236}">
                  <a16:creationId xmlns:a16="http://schemas.microsoft.com/office/drawing/2014/main" xmlns="" id="{91E08B42-FE59-684C-87D9-D879B4CD58BE}"/>
                </a:ext>
              </a:extLst>
            </p:cNvPr>
            <p:cNvSpPr txBox="1"/>
            <p:nvPr/>
          </p:nvSpPr>
          <p:spPr>
            <a:xfrm>
              <a:off x="4766025" y="3921192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s-ES" sz="2592" dirty="0">
                  <a:solidFill>
                    <a:srgbClr val="0C662F"/>
                  </a:solidFill>
                </a:rPr>
                <a:t>3</a:t>
              </a:r>
              <a:endParaRPr sz="2592" dirty="0">
                <a:solidFill>
                  <a:srgbClr val="0C662F"/>
                </a:solidFill>
              </a:endParaRPr>
            </a:p>
          </p:txBody>
        </p:sp>
      </p:grpSp>
      <p:sp>
        <p:nvSpPr>
          <p:cNvPr id="17" name="Título 1">
            <a:extLst>
              <a:ext uri="{FF2B5EF4-FFF2-40B4-BE49-F238E27FC236}">
                <a16:creationId xmlns:a16="http://schemas.microsoft.com/office/drawing/2014/main" xmlns="" id="{0EF5773A-AA43-4E44-9525-56A7A041C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593825"/>
            <a:ext cx="4689333" cy="945000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111" b="1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xmlns="" id="{3D05D424-30B2-7E47-9AB6-C83E1B90EA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55835" y="2543632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xmlns="" id="{8893FAC1-DC9D-9440-985E-77B4520EBD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55835" y="4472215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xmlns="" id="{1CDC6F2A-CD43-DC44-B35F-7AD48BD85D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55835" y="6367820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xmlns="" id="{D89F4531-1800-9F4D-BB0B-4B3D73DFDA6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xmlns="" id="{6C20F5E0-07F5-D544-AC03-AEC944D09569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079645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1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xmlns="" id="{8C5653FB-0B55-DF49-89A0-7BB644B8BB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:a16="http://schemas.microsoft.com/office/drawing/2014/main" xmlns="" id="{832578E3-BC08-FD4F-8D2A-99D9B2768843}"/>
              </a:ext>
            </a:extLst>
          </p:cNvPr>
          <p:cNvSpPr/>
          <p:nvPr/>
        </p:nvSpPr>
        <p:spPr>
          <a:xfrm flipV="1">
            <a:off x="6497690" y="2306198"/>
            <a:ext cx="0" cy="6825378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grpSp>
        <p:nvGrpSpPr>
          <p:cNvPr id="14" name="Grupo 13">
            <a:extLst>
              <a:ext uri="{FF2B5EF4-FFF2-40B4-BE49-F238E27FC236}">
                <a16:creationId xmlns:a16="http://schemas.microsoft.com/office/drawing/2014/main" xmlns="" id="{C592BB51-2F5B-334B-BBF2-932383E7DC3A}"/>
              </a:ext>
            </a:extLst>
          </p:cNvPr>
          <p:cNvGrpSpPr/>
          <p:nvPr/>
        </p:nvGrpSpPr>
        <p:grpSpPr>
          <a:xfrm>
            <a:off x="6223436" y="2136326"/>
            <a:ext cx="547452" cy="540693"/>
            <a:chOff x="4683126" y="1171576"/>
            <a:chExt cx="411957" cy="411957"/>
          </a:xfrm>
        </p:grpSpPr>
        <p:sp>
          <p:nvSpPr>
            <p:cNvPr id="4" name="Círculo">
              <a:extLst>
                <a:ext uri="{FF2B5EF4-FFF2-40B4-BE49-F238E27FC236}">
                  <a16:creationId xmlns:a16="http://schemas.microsoft.com/office/drawing/2014/main" xmlns="" id="{BBD7799B-2501-484A-BE95-7AFA110DBA90}"/>
                </a:ext>
              </a:extLst>
            </p:cNvPr>
            <p:cNvSpPr/>
            <p:nvPr/>
          </p:nvSpPr>
          <p:spPr>
            <a:xfrm>
              <a:off x="4683126" y="1171576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" name="1">
              <a:extLst>
                <a:ext uri="{FF2B5EF4-FFF2-40B4-BE49-F238E27FC236}">
                  <a16:creationId xmlns:a16="http://schemas.microsoft.com/office/drawing/2014/main" xmlns="" id="{71FA3B16-AB97-0F4C-939B-3F0F7FD107FC}"/>
                </a:ext>
              </a:extLst>
            </p:cNvPr>
            <p:cNvSpPr txBox="1"/>
            <p:nvPr/>
          </p:nvSpPr>
          <p:spPr>
            <a:xfrm>
              <a:off x="4765400" y="1229312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2592" dirty="0">
                  <a:solidFill>
                    <a:srgbClr val="0C662F"/>
                  </a:solidFill>
                </a:rPr>
                <a:t>1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xmlns="" id="{FAB304E8-1144-CE48-B0B0-2E7C02F312F2}"/>
              </a:ext>
            </a:extLst>
          </p:cNvPr>
          <p:cNvGrpSpPr/>
          <p:nvPr/>
        </p:nvGrpSpPr>
        <p:grpSpPr>
          <a:xfrm>
            <a:off x="6223436" y="3756626"/>
            <a:ext cx="547452" cy="540693"/>
            <a:chOff x="4683126" y="2517775"/>
            <a:chExt cx="411957" cy="411957"/>
          </a:xfrm>
        </p:grpSpPr>
        <p:sp>
          <p:nvSpPr>
            <p:cNvPr id="6" name="Círculo">
              <a:extLst>
                <a:ext uri="{FF2B5EF4-FFF2-40B4-BE49-F238E27FC236}">
                  <a16:creationId xmlns:a16="http://schemas.microsoft.com/office/drawing/2014/main" xmlns="" id="{940EDA27-F965-8A45-B802-8C71FC5E065A}"/>
                </a:ext>
              </a:extLst>
            </p:cNvPr>
            <p:cNvSpPr/>
            <p:nvPr/>
          </p:nvSpPr>
          <p:spPr>
            <a:xfrm>
              <a:off x="4683126" y="2517775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7" name="2">
              <a:extLst>
                <a:ext uri="{FF2B5EF4-FFF2-40B4-BE49-F238E27FC236}">
                  <a16:creationId xmlns:a16="http://schemas.microsoft.com/office/drawing/2014/main" xmlns="" id="{2FB37367-B189-B244-9457-9FDFCDEC7CA5}"/>
                </a:ext>
              </a:extLst>
            </p:cNvPr>
            <p:cNvSpPr txBox="1"/>
            <p:nvPr/>
          </p:nvSpPr>
          <p:spPr>
            <a:xfrm>
              <a:off x="4801194" y="2574993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algn="l"/>
              <a:r>
                <a:rPr sz="2592" dirty="0">
                  <a:solidFill>
                    <a:srgbClr val="0C662F"/>
                  </a:solidFill>
                </a:rPr>
                <a:t>2</a:t>
              </a:r>
            </a:p>
          </p:txBody>
        </p:sp>
      </p:grpSp>
      <p:grpSp>
        <p:nvGrpSpPr>
          <p:cNvPr id="24" name="Grupo 23">
            <a:extLst>
              <a:ext uri="{FF2B5EF4-FFF2-40B4-BE49-F238E27FC236}">
                <a16:creationId xmlns:a16="http://schemas.microsoft.com/office/drawing/2014/main" xmlns="" id="{9DF7C517-F070-6D45-9C82-44FD04509B7E}"/>
              </a:ext>
            </a:extLst>
          </p:cNvPr>
          <p:cNvGrpSpPr/>
          <p:nvPr/>
        </p:nvGrpSpPr>
        <p:grpSpPr>
          <a:xfrm>
            <a:off x="6223436" y="6997225"/>
            <a:ext cx="547452" cy="539651"/>
            <a:chOff x="4683126" y="5210174"/>
            <a:chExt cx="411957" cy="411163"/>
          </a:xfrm>
        </p:grpSpPr>
        <p:sp>
          <p:nvSpPr>
            <p:cNvPr id="8" name="Círculo">
              <a:extLst>
                <a:ext uri="{FF2B5EF4-FFF2-40B4-BE49-F238E27FC236}">
                  <a16:creationId xmlns:a16="http://schemas.microsoft.com/office/drawing/2014/main" xmlns="" id="{F52F2D8C-DC43-B34A-B2D8-D800CEB9718B}"/>
                </a:ext>
              </a:extLst>
            </p:cNvPr>
            <p:cNvSpPr/>
            <p:nvPr/>
          </p:nvSpPr>
          <p:spPr>
            <a:xfrm>
              <a:off x="4683126" y="5210174"/>
              <a:ext cx="411957" cy="411163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3">
              <a:extLst>
                <a:ext uri="{FF2B5EF4-FFF2-40B4-BE49-F238E27FC236}">
                  <a16:creationId xmlns:a16="http://schemas.microsoft.com/office/drawing/2014/main" xmlns="" id="{1C30725E-7A0A-B048-8064-90A7F215239C}"/>
                </a:ext>
              </a:extLst>
            </p:cNvPr>
            <p:cNvSpPr txBox="1"/>
            <p:nvPr/>
          </p:nvSpPr>
          <p:spPr>
            <a:xfrm>
              <a:off x="4766025" y="5266873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s-ES" sz="2592" dirty="0">
                  <a:solidFill>
                    <a:srgbClr val="0C662F"/>
                  </a:solidFill>
                </a:rPr>
                <a:t>4</a:t>
              </a:r>
              <a:endParaRPr sz="2592" dirty="0">
                <a:solidFill>
                  <a:srgbClr val="0C662F"/>
                </a:solidFill>
              </a:endParaRPr>
            </a:p>
          </p:txBody>
        </p: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xmlns="" id="{D5CFF926-8B63-D34A-8E42-1AFC9B870E90}"/>
              </a:ext>
            </a:extLst>
          </p:cNvPr>
          <p:cNvGrpSpPr/>
          <p:nvPr/>
        </p:nvGrpSpPr>
        <p:grpSpPr>
          <a:xfrm>
            <a:off x="6223436" y="5376928"/>
            <a:ext cx="547452" cy="540693"/>
            <a:chOff x="4683126" y="3863974"/>
            <a:chExt cx="411957" cy="411957"/>
          </a:xfrm>
        </p:grpSpPr>
        <p:sp>
          <p:nvSpPr>
            <p:cNvPr id="11" name="Círculo">
              <a:extLst>
                <a:ext uri="{FF2B5EF4-FFF2-40B4-BE49-F238E27FC236}">
                  <a16:creationId xmlns:a16="http://schemas.microsoft.com/office/drawing/2014/main" xmlns="" id="{7C3D1EB8-A4AC-F046-91CA-6E661DAD119E}"/>
                </a:ext>
              </a:extLst>
            </p:cNvPr>
            <p:cNvSpPr/>
            <p:nvPr/>
          </p:nvSpPr>
          <p:spPr>
            <a:xfrm>
              <a:off x="4683126" y="3863974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2">
              <a:extLst>
                <a:ext uri="{FF2B5EF4-FFF2-40B4-BE49-F238E27FC236}">
                  <a16:creationId xmlns:a16="http://schemas.microsoft.com/office/drawing/2014/main" xmlns="" id="{91E08B42-FE59-684C-87D9-D879B4CD58BE}"/>
                </a:ext>
              </a:extLst>
            </p:cNvPr>
            <p:cNvSpPr txBox="1"/>
            <p:nvPr/>
          </p:nvSpPr>
          <p:spPr>
            <a:xfrm>
              <a:off x="4766025" y="3921192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s-ES" sz="2592" dirty="0">
                  <a:solidFill>
                    <a:srgbClr val="0C662F"/>
                  </a:solidFill>
                </a:rPr>
                <a:t>3</a:t>
              </a:r>
              <a:endParaRPr sz="2592" dirty="0">
                <a:solidFill>
                  <a:srgbClr val="0C662F"/>
                </a:solidFill>
              </a:endParaRPr>
            </a:p>
          </p:txBody>
        </p:sp>
      </p:grpSp>
      <p:sp>
        <p:nvSpPr>
          <p:cNvPr id="17" name="Título 1">
            <a:extLst>
              <a:ext uri="{FF2B5EF4-FFF2-40B4-BE49-F238E27FC236}">
                <a16:creationId xmlns:a16="http://schemas.microsoft.com/office/drawing/2014/main" xmlns="" id="{0EF5773A-AA43-4E44-9525-56A7A041C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593825"/>
            <a:ext cx="4689333" cy="945000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111" b="1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xmlns="" id="{3D05D424-30B2-7E47-9AB6-C83E1B90EA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55835" y="2306201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xmlns="" id="{8893FAC1-DC9D-9440-985E-77B4520EBD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55835" y="3922501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xmlns="" id="{1CDC6F2A-CD43-DC44-B35F-7AD48BD85D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55835" y="5538802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xmlns="" id="{2E8EE67D-954B-1E4C-87F1-A82DF7427D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55835" y="7155104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xmlns="" id="{D89F4531-1800-9F4D-BB0B-4B3D73DFDA6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xmlns="" id="{6C20F5E0-07F5-D544-AC03-AEC944D09569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987963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1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xmlns="" id="{1B3CF53D-25D4-9646-AB92-B8AA4975E6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:a16="http://schemas.microsoft.com/office/drawing/2014/main" xmlns="" id="{832578E3-BC08-FD4F-8D2A-99D9B2768843}"/>
              </a:ext>
            </a:extLst>
          </p:cNvPr>
          <p:cNvSpPr/>
          <p:nvPr/>
        </p:nvSpPr>
        <p:spPr>
          <a:xfrm flipV="1">
            <a:off x="6497690" y="2413481"/>
            <a:ext cx="0" cy="662810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grpSp>
        <p:nvGrpSpPr>
          <p:cNvPr id="17" name="Grupo 16">
            <a:extLst>
              <a:ext uri="{FF2B5EF4-FFF2-40B4-BE49-F238E27FC236}">
                <a16:creationId xmlns:a16="http://schemas.microsoft.com/office/drawing/2014/main" xmlns="" id="{0E62E15C-BC86-AF43-AC57-64B37356E8A5}"/>
              </a:ext>
            </a:extLst>
          </p:cNvPr>
          <p:cNvGrpSpPr/>
          <p:nvPr/>
        </p:nvGrpSpPr>
        <p:grpSpPr>
          <a:xfrm>
            <a:off x="6223436" y="2144512"/>
            <a:ext cx="547452" cy="540693"/>
            <a:chOff x="4683126" y="1171576"/>
            <a:chExt cx="411957" cy="411957"/>
          </a:xfrm>
        </p:grpSpPr>
        <p:sp>
          <p:nvSpPr>
            <p:cNvPr id="4" name="Círculo">
              <a:extLst>
                <a:ext uri="{FF2B5EF4-FFF2-40B4-BE49-F238E27FC236}">
                  <a16:creationId xmlns:a16="http://schemas.microsoft.com/office/drawing/2014/main" xmlns="" id="{BBD7799B-2501-484A-BE95-7AFA110DBA90}"/>
                </a:ext>
              </a:extLst>
            </p:cNvPr>
            <p:cNvSpPr/>
            <p:nvPr/>
          </p:nvSpPr>
          <p:spPr>
            <a:xfrm>
              <a:off x="4683126" y="1171576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" name="1">
              <a:extLst>
                <a:ext uri="{FF2B5EF4-FFF2-40B4-BE49-F238E27FC236}">
                  <a16:creationId xmlns:a16="http://schemas.microsoft.com/office/drawing/2014/main" xmlns="" id="{71FA3B16-AB97-0F4C-939B-3F0F7FD107FC}"/>
                </a:ext>
              </a:extLst>
            </p:cNvPr>
            <p:cNvSpPr txBox="1"/>
            <p:nvPr/>
          </p:nvSpPr>
          <p:spPr>
            <a:xfrm>
              <a:off x="4765400" y="1229312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2592" dirty="0">
                  <a:solidFill>
                    <a:srgbClr val="0C662F"/>
                  </a:solidFill>
                </a:rPr>
                <a:t>1</a:t>
              </a: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xmlns="" id="{57A1DD69-AF11-C341-A068-C6BCFB304A12}"/>
              </a:ext>
            </a:extLst>
          </p:cNvPr>
          <p:cNvGrpSpPr/>
          <p:nvPr/>
        </p:nvGrpSpPr>
        <p:grpSpPr>
          <a:xfrm>
            <a:off x="6223436" y="3403017"/>
            <a:ext cx="547452" cy="540693"/>
            <a:chOff x="4683126" y="2253730"/>
            <a:chExt cx="411957" cy="411957"/>
          </a:xfrm>
        </p:grpSpPr>
        <p:sp>
          <p:nvSpPr>
            <p:cNvPr id="6" name="Círculo">
              <a:extLst>
                <a:ext uri="{FF2B5EF4-FFF2-40B4-BE49-F238E27FC236}">
                  <a16:creationId xmlns:a16="http://schemas.microsoft.com/office/drawing/2014/main" xmlns="" id="{940EDA27-F965-8A45-B802-8C71FC5E065A}"/>
                </a:ext>
              </a:extLst>
            </p:cNvPr>
            <p:cNvSpPr/>
            <p:nvPr/>
          </p:nvSpPr>
          <p:spPr>
            <a:xfrm>
              <a:off x="4683126" y="2253730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7" name="2">
              <a:extLst>
                <a:ext uri="{FF2B5EF4-FFF2-40B4-BE49-F238E27FC236}">
                  <a16:creationId xmlns:a16="http://schemas.microsoft.com/office/drawing/2014/main" xmlns="" id="{2FB37367-B189-B244-9457-9FDFCDEC7CA5}"/>
                </a:ext>
              </a:extLst>
            </p:cNvPr>
            <p:cNvSpPr txBox="1"/>
            <p:nvPr/>
          </p:nvSpPr>
          <p:spPr>
            <a:xfrm>
              <a:off x="4801194" y="2310948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algn="l"/>
              <a:r>
                <a:rPr sz="2592" dirty="0">
                  <a:solidFill>
                    <a:srgbClr val="0C662F"/>
                  </a:solidFill>
                </a:rPr>
                <a:t>2</a:t>
              </a:r>
            </a:p>
          </p:txBody>
        </p:sp>
      </p:grpSp>
      <p:grpSp>
        <p:nvGrpSpPr>
          <p:cNvPr id="40" name="Grupo 39">
            <a:extLst>
              <a:ext uri="{FF2B5EF4-FFF2-40B4-BE49-F238E27FC236}">
                <a16:creationId xmlns:a16="http://schemas.microsoft.com/office/drawing/2014/main" xmlns="" id="{CB29BF30-9415-6446-91F8-D23C812D624E}"/>
              </a:ext>
            </a:extLst>
          </p:cNvPr>
          <p:cNvGrpSpPr/>
          <p:nvPr/>
        </p:nvGrpSpPr>
        <p:grpSpPr>
          <a:xfrm>
            <a:off x="6223436" y="7231441"/>
            <a:ext cx="547452" cy="539651"/>
            <a:chOff x="4683126" y="5499397"/>
            <a:chExt cx="411957" cy="411163"/>
          </a:xfrm>
        </p:grpSpPr>
        <p:sp>
          <p:nvSpPr>
            <p:cNvPr id="8" name="Círculo">
              <a:extLst>
                <a:ext uri="{FF2B5EF4-FFF2-40B4-BE49-F238E27FC236}">
                  <a16:creationId xmlns:a16="http://schemas.microsoft.com/office/drawing/2014/main" xmlns="" id="{F52F2D8C-DC43-B34A-B2D8-D800CEB9718B}"/>
                </a:ext>
              </a:extLst>
            </p:cNvPr>
            <p:cNvSpPr/>
            <p:nvPr/>
          </p:nvSpPr>
          <p:spPr>
            <a:xfrm>
              <a:off x="4683126" y="5499397"/>
              <a:ext cx="411957" cy="411163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3">
              <a:extLst>
                <a:ext uri="{FF2B5EF4-FFF2-40B4-BE49-F238E27FC236}">
                  <a16:creationId xmlns:a16="http://schemas.microsoft.com/office/drawing/2014/main" xmlns="" id="{1C30725E-7A0A-B048-8064-90A7F215239C}"/>
                </a:ext>
              </a:extLst>
            </p:cNvPr>
            <p:cNvSpPr txBox="1"/>
            <p:nvPr/>
          </p:nvSpPr>
          <p:spPr>
            <a:xfrm>
              <a:off x="4766025" y="5556096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s-ES" sz="2592" dirty="0">
                  <a:solidFill>
                    <a:srgbClr val="0C662F"/>
                  </a:solidFill>
                </a:rPr>
                <a:t>5</a:t>
              </a:r>
              <a:endParaRPr sz="2592" dirty="0">
                <a:solidFill>
                  <a:srgbClr val="0C662F"/>
                </a:solidFill>
              </a:endParaRPr>
            </a:p>
          </p:txBody>
        </p:sp>
      </p:grpSp>
      <p:grpSp>
        <p:nvGrpSpPr>
          <p:cNvPr id="38" name="Grupo 37">
            <a:extLst>
              <a:ext uri="{FF2B5EF4-FFF2-40B4-BE49-F238E27FC236}">
                <a16:creationId xmlns:a16="http://schemas.microsoft.com/office/drawing/2014/main" xmlns="" id="{DAD26C6C-4EB9-124D-ABBA-815C91738182}"/>
              </a:ext>
            </a:extLst>
          </p:cNvPr>
          <p:cNvGrpSpPr/>
          <p:nvPr/>
        </p:nvGrpSpPr>
        <p:grpSpPr>
          <a:xfrm>
            <a:off x="6223436" y="4661525"/>
            <a:ext cx="547452" cy="540693"/>
            <a:chOff x="4683126" y="3335883"/>
            <a:chExt cx="411957" cy="411957"/>
          </a:xfrm>
        </p:grpSpPr>
        <p:sp>
          <p:nvSpPr>
            <p:cNvPr id="11" name="Círculo">
              <a:extLst>
                <a:ext uri="{FF2B5EF4-FFF2-40B4-BE49-F238E27FC236}">
                  <a16:creationId xmlns:a16="http://schemas.microsoft.com/office/drawing/2014/main" xmlns="" id="{7C3D1EB8-A4AC-F046-91CA-6E661DAD119E}"/>
                </a:ext>
              </a:extLst>
            </p:cNvPr>
            <p:cNvSpPr/>
            <p:nvPr/>
          </p:nvSpPr>
          <p:spPr>
            <a:xfrm>
              <a:off x="4683126" y="3335883"/>
              <a:ext cx="411957" cy="411957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2">
              <a:extLst>
                <a:ext uri="{FF2B5EF4-FFF2-40B4-BE49-F238E27FC236}">
                  <a16:creationId xmlns:a16="http://schemas.microsoft.com/office/drawing/2014/main" xmlns="" id="{91E08B42-FE59-684C-87D9-D879B4CD58BE}"/>
                </a:ext>
              </a:extLst>
            </p:cNvPr>
            <p:cNvSpPr txBox="1"/>
            <p:nvPr/>
          </p:nvSpPr>
          <p:spPr>
            <a:xfrm>
              <a:off x="4766025" y="3393101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s-ES" sz="2592" dirty="0">
                  <a:solidFill>
                    <a:srgbClr val="0C662F"/>
                  </a:solidFill>
                </a:rPr>
                <a:t>3</a:t>
              </a:r>
              <a:endParaRPr sz="2592" dirty="0">
                <a:solidFill>
                  <a:srgbClr val="0C662F"/>
                </a:solidFill>
              </a:endParaRPr>
            </a:p>
          </p:txBody>
        </p:sp>
      </p:grpSp>
      <p:grpSp>
        <p:nvGrpSpPr>
          <p:cNvPr id="39" name="Grupo 38">
            <a:extLst>
              <a:ext uri="{FF2B5EF4-FFF2-40B4-BE49-F238E27FC236}">
                <a16:creationId xmlns:a16="http://schemas.microsoft.com/office/drawing/2014/main" xmlns="" id="{627AF89F-51F2-974C-8C65-DC95A56471EF}"/>
              </a:ext>
            </a:extLst>
          </p:cNvPr>
          <p:cNvGrpSpPr/>
          <p:nvPr/>
        </p:nvGrpSpPr>
        <p:grpSpPr>
          <a:xfrm>
            <a:off x="6223436" y="5947003"/>
            <a:ext cx="547452" cy="539651"/>
            <a:chOff x="4683126" y="4418038"/>
            <a:chExt cx="411957" cy="411163"/>
          </a:xfrm>
        </p:grpSpPr>
        <p:sp>
          <p:nvSpPr>
            <p:cNvPr id="18" name="Círculo">
              <a:extLst>
                <a:ext uri="{FF2B5EF4-FFF2-40B4-BE49-F238E27FC236}">
                  <a16:creationId xmlns:a16="http://schemas.microsoft.com/office/drawing/2014/main" xmlns="" id="{884743E4-9B03-EC4B-A260-19A415777DF6}"/>
                </a:ext>
              </a:extLst>
            </p:cNvPr>
            <p:cNvSpPr/>
            <p:nvPr/>
          </p:nvSpPr>
          <p:spPr>
            <a:xfrm>
              <a:off x="4683126" y="4418038"/>
              <a:ext cx="411957" cy="411163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algn="ctr" defTabSz="535047">
                <a:defRPr sz="32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2074" b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3">
              <a:extLst>
                <a:ext uri="{FF2B5EF4-FFF2-40B4-BE49-F238E27FC236}">
                  <a16:creationId xmlns:a16="http://schemas.microsoft.com/office/drawing/2014/main" xmlns="" id="{AE867737-15FD-604D-8F54-6525D645A5BB}"/>
                </a:ext>
              </a:extLst>
            </p:cNvPr>
            <p:cNvSpPr txBox="1"/>
            <p:nvPr/>
          </p:nvSpPr>
          <p:spPr>
            <a:xfrm>
              <a:off x="4766025" y="4474734"/>
              <a:ext cx="257175" cy="3430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algn="ctr" defTabSz="1828800">
                <a:spcBef>
                  <a:spcPts val="0"/>
                </a:spcBef>
                <a:defRPr sz="4000">
                  <a:solidFill>
                    <a:srgbClr val="34773C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s-ES" sz="2592" dirty="0">
                  <a:solidFill>
                    <a:srgbClr val="0C662F"/>
                  </a:solidFill>
                </a:rPr>
                <a:t>4</a:t>
              </a:r>
              <a:endParaRPr sz="2592" dirty="0">
                <a:solidFill>
                  <a:srgbClr val="0C662F"/>
                </a:solidFill>
              </a:endParaRPr>
            </a:p>
          </p:txBody>
        </p:sp>
      </p:grpSp>
      <p:sp>
        <p:nvSpPr>
          <p:cNvPr id="20" name="Título 1">
            <a:extLst>
              <a:ext uri="{FF2B5EF4-FFF2-40B4-BE49-F238E27FC236}">
                <a16:creationId xmlns:a16="http://schemas.microsoft.com/office/drawing/2014/main" xmlns="" id="{85F7771C-C889-3F4D-9422-EADBF00AF2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602158"/>
            <a:ext cx="4689333" cy="94500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spcBef>
                <a:spcPts val="778"/>
              </a:spcBef>
              <a:spcAft>
                <a:spcPts val="778"/>
              </a:spcAft>
              <a:defRPr sz="3111" b="1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xmlns="" id="{033F232C-1A9F-1C4B-B63A-72AD25EAD3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55835" y="2302870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F6EA4AA6-F211-574A-BE31-1CA2875DC6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55835" y="3568124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xmlns="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55835" y="4833378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55835" y="6098632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xmlns="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55835" y="7363884"/>
            <a:ext cx="712553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xmlns="" id="{328CA6FF-8AB6-A846-8F9F-58E6916942EE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número de diapositiva 1">
            <a:extLst>
              <a:ext uri="{FF2B5EF4-FFF2-40B4-BE49-F238E27FC236}">
                <a16:creationId xmlns:a16="http://schemas.microsoft.com/office/drawing/2014/main" xmlns="" id="{03A48B33-A8CB-4B44-BB14-D481E6DABB3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884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624">
          <p15:clr>
            <a:srgbClr val="FBAE40"/>
          </p15:clr>
        </p15:guide>
        <p15:guide id="3" orient="horz" pos="2233">
          <p15:clr>
            <a:srgbClr val="FBAE40"/>
          </p15:clr>
        </p15:guide>
        <p15:guide id="4" orient="horz" pos="2848">
          <p15:clr>
            <a:srgbClr val="FBAE40"/>
          </p15:clr>
        </p15:guide>
        <p15:guide id="5" orient="horz" pos="346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5-03-2024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08264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4CC8A321-110D-F84C-BC3A-3F4DCCDAB0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xmlns="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6590" y="3241896"/>
            <a:ext cx="2538950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xmlns="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73091" y="3241896"/>
            <a:ext cx="2538950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xmlns="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969592" y="3241896"/>
            <a:ext cx="2538950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61" name="Título 1">
            <a:extLst>
              <a:ext uri="{FF2B5EF4-FFF2-40B4-BE49-F238E27FC236}">
                <a16:creationId xmlns:a16="http://schemas.microsoft.com/office/drawing/2014/main" xmlns="" id="{AF37E838-6566-A847-ABB9-7092F1C160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602158"/>
            <a:ext cx="4689333" cy="94500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spcBef>
                <a:spcPts val="778"/>
              </a:spcBef>
              <a:spcAft>
                <a:spcPts val="778"/>
              </a:spcAft>
              <a:defRPr sz="3111" b="1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xmlns="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066092" y="3241896"/>
            <a:ext cx="2538950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6590" y="5358054"/>
            <a:ext cx="2538870" cy="205263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97"/>
              </a:spcBef>
              <a:spcAft>
                <a:spcPts val="1297"/>
              </a:spcAft>
              <a:buNone/>
              <a:defRPr sz="168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3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xmlns="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73118" y="5358641"/>
            <a:ext cx="2538870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1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69645" y="5358641"/>
            <a:ext cx="2538870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1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xmlns="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066172" y="5358641"/>
            <a:ext cx="2538870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1</a:t>
            </a:r>
            <a:endParaRPr lang="es-CL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xmlns="" id="{4EB9DD76-F7D8-3E43-BD31-B7C372E8921E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" name="Marcador de texto 4">
            <a:extLst>
              <a:ext uri="{FF2B5EF4-FFF2-40B4-BE49-F238E27FC236}">
                <a16:creationId xmlns:a16="http://schemas.microsoft.com/office/drawing/2014/main" xmlns="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6943" y="2528814"/>
            <a:ext cx="1594629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xmlns="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67697" y="2528814"/>
            <a:ext cx="1594629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xmlns="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68449" y="2528814"/>
            <a:ext cx="1594629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xmlns="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869201" y="2528814"/>
            <a:ext cx="1594629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xmlns="" id="{49B71DB7-A654-844B-8689-DCE3BDF344B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442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99C22FEA-59FA-1540-A939-F039EF19BD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:a16="http://schemas.microsoft.com/office/drawing/2014/main" xmlns="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1730" y="3247845"/>
            <a:ext cx="204877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:a16="http://schemas.microsoft.com/office/drawing/2014/main" xmlns="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1741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68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3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xmlns="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219" y="3247845"/>
            <a:ext cx="2044017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:a16="http://schemas.microsoft.com/office/drawing/2014/main" xmlns="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6063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:a16="http://schemas.microsoft.com/office/drawing/2014/main" xmlns="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23317" y="3247845"/>
            <a:ext cx="2036885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:a16="http://schemas.microsoft.com/office/drawing/2014/main" xmlns="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9751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:a16="http://schemas.microsoft.com/office/drawing/2014/main" xmlns="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266624" y="3247845"/>
            <a:ext cx="2048765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:a16="http://schemas.microsoft.com/office/drawing/2014/main" xmlns="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70780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:a16="http://schemas.microsoft.com/office/drawing/2014/main" xmlns="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529529" y="3247845"/>
            <a:ext cx="2048767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:a16="http://schemas.microsoft.com/office/drawing/2014/main" xmlns="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529529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47" name="Título 1">
            <a:extLst>
              <a:ext uri="{FF2B5EF4-FFF2-40B4-BE49-F238E27FC236}">
                <a16:creationId xmlns:a16="http://schemas.microsoft.com/office/drawing/2014/main" xmlns="" id="{9E1903E5-0B43-B14C-92A3-493CF678A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602161"/>
            <a:ext cx="4397027" cy="9450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111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xmlns="" id="{2B5E496B-C752-824B-90AB-16C0445ADA3D}"/>
              </a:ext>
            </a:extLst>
          </p:cNvPr>
          <p:cNvCxnSpPr>
            <a:cxnSpLocks/>
          </p:cNvCxnSpPr>
          <p:nvPr/>
        </p:nvCxnSpPr>
        <p:spPr>
          <a:xfrm>
            <a:off x="9895586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xmlns="" id="{C362018F-EA21-4C43-90C7-50DC98F19ABF}"/>
              </a:ext>
            </a:extLst>
          </p:cNvPr>
          <p:cNvCxnSpPr>
            <a:cxnSpLocks/>
          </p:cNvCxnSpPr>
          <p:nvPr/>
        </p:nvCxnSpPr>
        <p:spPr>
          <a:xfrm>
            <a:off x="6680856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xmlns="" id="{494AAB60-24B4-E74A-BE1B-C423918FE76E}"/>
              </a:ext>
            </a:extLst>
          </p:cNvPr>
          <p:cNvCxnSpPr>
            <a:cxnSpLocks/>
          </p:cNvCxnSpPr>
          <p:nvPr/>
        </p:nvCxnSpPr>
        <p:spPr>
          <a:xfrm>
            <a:off x="3466125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xmlns="" id="{638125DE-6B7C-2B44-9E77-2BB68C07C81A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xmlns="" id="{8A978983-138F-0340-AD4E-DF2CA4EC1DAD}"/>
              </a:ext>
            </a:extLst>
          </p:cNvPr>
          <p:cNvCxnSpPr>
            <a:cxnSpLocks/>
          </p:cNvCxnSpPr>
          <p:nvPr/>
        </p:nvCxnSpPr>
        <p:spPr>
          <a:xfrm>
            <a:off x="13157662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" name="Marcador de número de diapositiva 1">
            <a:extLst>
              <a:ext uri="{FF2B5EF4-FFF2-40B4-BE49-F238E27FC236}">
                <a16:creationId xmlns:a16="http://schemas.microsoft.com/office/drawing/2014/main" xmlns="" id="{6164492C-0653-984B-93FE-EA97E94C936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783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53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7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99C22FEA-59FA-1540-A939-F039EF19BD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:a16="http://schemas.microsoft.com/office/drawing/2014/main" xmlns="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1730" y="3247845"/>
            <a:ext cx="204877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:a16="http://schemas.microsoft.com/office/drawing/2014/main" xmlns="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1741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685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3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xmlns="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90622" y="3247845"/>
            <a:ext cx="2044017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:a16="http://schemas.microsoft.com/office/drawing/2014/main" xmlns="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0622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:a16="http://schemas.microsoft.com/office/drawing/2014/main" xmlns="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4759" y="3247845"/>
            <a:ext cx="2036885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:a16="http://schemas.microsoft.com/office/drawing/2014/main" xmlns="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4757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:a16="http://schemas.microsoft.com/office/drawing/2014/main" xmlns="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51762" y="3247845"/>
            <a:ext cx="2048765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:a16="http://schemas.microsoft.com/office/drawing/2014/main" xmlns="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1761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:a16="http://schemas.microsoft.com/office/drawing/2014/main" xmlns="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529529" y="3247845"/>
            <a:ext cx="2048767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:a16="http://schemas.microsoft.com/office/drawing/2014/main" xmlns="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529529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sp>
        <p:nvSpPr>
          <p:cNvPr id="47" name="Título 1">
            <a:extLst>
              <a:ext uri="{FF2B5EF4-FFF2-40B4-BE49-F238E27FC236}">
                <a16:creationId xmlns:a16="http://schemas.microsoft.com/office/drawing/2014/main" xmlns="" id="{9E1903E5-0B43-B14C-92A3-493CF678A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480" y="602161"/>
            <a:ext cx="4397027" cy="9450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111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xmlns="" id="{2B5E496B-C752-824B-90AB-16C0445ADA3D}"/>
              </a:ext>
            </a:extLst>
          </p:cNvPr>
          <p:cNvCxnSpPr>
            <a:cxnSpLocks/>
          </p:cNvCxnSpPr>
          <p:nvPr/>
        </p:nvCxnSpPr>
        <p:spPr>
          <a:xfrm>
            <a:off x="8089460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xmlns="" id="{C362018F-EA21-4C43-90C7-50DC98F19ABF}"/>
              </a:ext>
            </a:extLst>
          </p:cNvPr>
          <p:cNvCxnSpPr>
            <a:cxnSpLocks/>
          </p:cNvCxnSpPr>
          <p:nvPr/>
        </p:nvCxnSpPr>
        <p:spPr>
          <a:xfrm>
            <a:off x="6096000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xmlns="" id="{494AAB60-24B4-E74A-BE1B-C423918FE76E}"/>
              </a:ext>
            </a:extLst>
          </p:cNvPr>
          <p:cNvCxnSpPr>
            <a:cxnSpLocks/>
          </p:cNvCxnSpPr>
          <p:nvPr/>
        </p:nvCxnSpPr>
        <p:spPr>
          <a:xfrm>
            <a:off x="2916436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xmlns="" id="{638125DE-6B7C-2B44-9E77-2BB68C07C81A}"/>
              </a:ext>
            </a:extLst>
          </p:cNvPr>
          <p:cNvCxnSpPr>
            <a:cxnSpLocks/>
          </p:cNvCxnSpPr>
          <p:nvPr/>
        </p:nvCxnSpPr>
        <p:spPr>
          <a:xfrm>
            <a:off x="739560" y="1564693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xmlns="" id="{8A978983-138F-0340-AD4E-DF2CA4EC1DAD}"/>
              </a:ext>
            </a:extLst>
          </p:cNvPr>
          <p:cNvCxnSpPr>
            <a:cxnSpLocks/>
          </p:cNvCxnSpPr>
          <p:nvPr/>
        </p:nvCxnSpPr>
        <p:spPr>
          <a:xfrm>
            <a:off x="13262483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" name="Marcador de número de diapositiva 1">
            <a:extLst>
              <a:ext uri="{FF2B5EF4-FFF2-40B4-BE49-F238E27FC236}">
                <a16:creationId xmlns:a16="http://schemas.microsoft.com/office/drawing/2014/main" xmlns="" id="{6164492C-0653-984B-93FE-EA97E94C936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xmlns="" id="{43F33C67-45CD-7047-9BCC-2401C278A2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940646" y="3247845"/>
            <a:ext cx="2048767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75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6">
            <a:extLst>
              <a:ext uri="{FF2B5EF4-FFF2-40B4-BE49-F238E27FC236}">
                <a16:creationId xmlns:a16="http://schemas.microsoft.com/office/drawing/2014/main" xmlns="" id="{9777251C-0852-C94D-8962-FCAE03B2FC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940645" y="4828507"/>
            <a:ext cx="2048772" cy="16377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 sz="1945">
                <a:solidFill>
                  <a:schemeClr val="tx2"/>
                </a:solidFill>
              </a:defRPr>
            </a:lvl2pPr>
            <a:lvl3pPr marL="790223" indent="0">
              <a:buNone/>
              <a:defRPr sz="1945">
                <a:solidFill>
                  <a:schemeClr val="tx2"/>
                </a:solidFill>
              </a:defRPr>
            </a:lvl3pPr>
            <a:lvl4pPr marL="1185336" indent="0">
              <a:buNone/>
              <a:defRPr sz="1945">
                <a:solidFill>
                  <a:schemeClr val="tx2"/>
                </a:solidFill>
              </a:defRPr>
            </a:lvl4pPr>
            <a:lvl5pPr marL="1580448" indent="0">
              <a:buNone/>
              <a:defRPr sz="1945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1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D567F2BB-843F-8041-BD2D-879481734705}"/>
              </a:ext>
            </a:extLst>
          </p:cNvPr>
          <p:cNvCxnSpPr>
            <a:cxnSpLocks/>
          </p:cNvCxnSpPr>
          <p:nvPr/>
        </p:nvCxnSpPr>
        <p:spPr>
          <a:xfrm>
            <a:off x="10675972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xmlns="" id="{00F34FB2-688E-F342-8B96-459104349340}"/>
              </a:ext>
            </a:extLst>
          </p:cNvPr>
          <p:cNvCxnSpPr>
            <a:cxnSpLocks/>
          </p:cNvCxnSpPr>
          <p:nvPr/>
        </p:nvCxnSpPr>
        <p:spPr>
          <a:xfrm>
            <a:off x="5502948" y="3247845"/>
            <a:ext cx="0" cy="3218367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179442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53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7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5531200A-67B4-814A-95C6-ABA059808C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27BAF180-D9D1-0C4D-852E-CDC458C6A5AD}"/>
              </a:ext>
            </a:extLst>
          </p:cNvPr>
          <p:cNvSpPr/>
          <p:nvPr/>
        </p:nvSpPr>
        <p:spPr>
          <a:xfrm>
            <a:off x="12245702" y="4824955"/>
            <a:ext cx="3348844" cy="7714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52" tIns="65852" rIns="65852" bIns="65852" numCol="1" spcCol="38100" rtlCol="0" anchor="ctr">
            <a:spAutoFit/>
          </a:bodyPr>
          <a:lstStyle/>
          <a:p>
            <a:pPr algn="ctr" defTabSz="1070094" hangingPunct="0"/>
            <a:endParaRPr lang="es-CL" sz="4149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:a16="http://schemas.microsoft.com/office/drawing/2014/main" xmlns="" id="{92245F91-D7B9-BE4A-83D9-E37F606258CA}"/>
              </a:ext>
            </a:extLst>
          </p:cNvPr>
          <p:cNvSpPr/>
          <p:nvPr/>
        </p:nvSpPr>
        <p:spPr>
          <a:xfrm>
            <a:off x="11449760" y="2801702"/>
            <a:ext cx="372201" cy="48195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2700">
            <a:solidFill>
              <a:srgbClr val="5E5E5E"/>
            </a:solidFill>
            <a:prstDash val="sysDot"/>
            <a:miter lim="400000"/>
          </a:ln>
        </p:spPr>
        <p:txBody>
          <a:bodyPr lIns="32927" tIns="32927" rIns="32927" bIns="32927" anchor="ctr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55421" y="2801702"/>
            <a:ext cx="5359924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46586" y="3225358"/>
            <a:ext cx="150186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xmlns="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7182" y="2801702"/>
            <a:ext cx="1960598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xmlns="" id="{CBC1B177-B50F-5E40-B15D-0EC5384F83A6}"/>
              </a:ext>
            </a:extLst>
          </p:cNvPr>
          <p:cNvCxnSpPr>
            <a:cxnSpLocks/>
          </p:cNvCxnSpPr>
          <p:nvPr/>
        </p:nvCxnSpPr>
        <p:spPr>
          <a:xfrm>
            <a:off x="4905026" y="2801702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:a16="http://schemas.microsoft.com/office/drawing/2014/main" xmlns="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55421" y="4500614"/>
            <a:ext cx="5359924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46586" y="4861928"/>
            <a:ext cx="150186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xmlns="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07182" y="4500614"/>
            <a:ext cx="1960598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xmlns="" id="{94711B5F-DD02-6648-B446-B9333D6370A5}"/>
              </a:ext>
            </a:extLst>
          </p:cNvPr>
          <p:cNvCxnSpPr>
            <a:cxnSpLocks/>
          </p:cNvCxnSpPr>
          <p:nvPr/>
        </p:nvCxnSpPr>
        <p:spPr>
          <a:xfrm>
            <a:off x="4905026" y="4500614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55421" y="6198132"/>
            <a:ext cx="5359924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xmlns="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6586" y="6621788"/>
            <a:ext cx="150186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:a16="http://schemas.microsoft.com/office/drawing/2014/main" xmlns="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7182" y="6198132"/>
            <a:ext cx="1960598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xmlns="" id="{E4F06A31-FE62-FA43-82D4-43BC324386A3}"/>
              </a:ext>
            </a:extLst>
          </p:cNvPr>
          <p:cNvCxnSpPr>
            <a:cxnSpLocks/>
          </p:cNvCxnSpPr>
          <p:nvPr/>
        </p:nvCxnSpPr>
        <p:spPr>
          <a:xfrm>
            <a:off x="4905026" y="6198132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:a16="http://schemas.microsoft.com/office/drawing/2014/main" xmlns="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56536" y="2895064"/>
            <a:ext cx="316638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356536" y="3587456"/>
            <a:ext cx="3166389" cy="3893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1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xmlns="" id="{C8D3ADC8-2646-824F-9B26-D0300FFE6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xmlns="" id="{AAFEA284-D854-764B-8679-FF97559BAF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xmlns="" id="{54892AB7-8969-3149-A8C8-A55B4DF9A946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4">
            <a:extLst>
              <a:ext uri="{FF2B5EF4-FFF2-40B4-BE49-F238E27FC236}">
                <a16:creationId xmlns:a16="http://schemas.microsoft.com/office/drawing/2014/main" xmlns="" id="{3A8DF9D6-5EAA-1441-80FE-873F0F2A7A1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80153" y="8480226"/>
            <a:ext cx="11131590" cy="488022"/>
          </a:xfrm>
          <a:prstGeom prst="rect">
            <a:avLst/>
          </a:prstGeom>
        </p:spPr>
        <p:txBody>
          <a:bodyPr/>
          <a:lstStyle>
            <a:lvl1pPr marL="296335" indent="-296335">
              <a:lnSpc>
                <a:spcPct val="100000"/>
              </a:lnSpc>
              <a:spcBef>
                <a:spcPts val="13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6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xmlns="" id="{8C8420A3-7D72-C143-952C-9A42F71F4C2F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075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F257A930-1B12-7B4A-B402-734BCB48BA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:a16="http://schemas.microsoft.com/office/drawing/2014/main" xmlns="" id="{43C07928-B23C-C049-8D57-638AEAE25D0A}"/>
              </a:ext>
            </a:extLst>
          </p:cNvPr>
          <p:cNvSpPr/>
          <p:nvPr/>
        </p:nvSpPr>
        <p:spPr>
          <a:xfrm>
            <a:off x="12246206" y="4913554"/>
            <a:ext cx="3348844" cy="7714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52" tIns="65852" rIns="65852" bIns="65852" numCol="1" spcCol="38100" rtlCol="0" anchor="ctr">
            <a:spAutoFit/>
          </a:bodyPr>
          <a:lstStyle/>
          <a:p>
            <a:pPr algn="ctr" defTabSz="1070094" hangingPunct="0"/>
            <a:endParaRPr lang="es-CL" sz="4149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924116B-8941-2A40-A860-3DF871878D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D20FBF2A-FC74-574B-9A6F-BCDA3D6935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0" name="Conector recto 74">
            <a:extLst>
              <a:ext uri="{FF2B5EF4-FFF2-40B4-BE49-F238E27FC236}">
                <a16:creationId xmlns:a16="http://schemas.microsoft.com/office/drawing/2014/main" xmlns="" id="{D53F8420-F737-A142-8C02-3370D732A139}"/>
              </a:ext>
            </a:extLst>
          </p:cNvPr>
          <p:cNvSpPr/>
          <p:nvPr/>
        </p:nvSpPr>
        <p:spPr>
          <a:xfrm flipH="1">
            <a:off x="3856487" y="3080252"/>
            <a:ext cx="1" cy="446342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:a16="http://schemas.microsoft.com/office/drawing/2014/main" xmlns="" id="{D6D37DC4-4EA6-9544-8D43-FDA98A0A4224}"/>
              </a:ext>
            </a:extLst>
          </p:cNvPr>
          <p:cNvSpPr/>
          <p:nvPr/>
        </p:nvSpPr>
        <p:spPr>
          <a:xfrm flipH="1">
            <a:off x="7484877" y="3080252"/>
            <a:ext cx="1" cy="446342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Línea">
            <a:extLst>
              <a:ext uri="{FF2B5EF4-FFF2-40B4-BE49-F238E27FC236}">
                <a16:creationId xmlns:a16="http://schemas.microsoft.com/office/drawing/2014/main" xmlns="" id="{92245F91-D7B9-BE4A-83D9-E37F606258CA}"/>
              </a:ext>
            </a:extLst>
          </p:cNvPr>
          <p:cNvSpPr/>
          <p:nvPr/>
        </p:nvSpPr>
        <p:spPr>
          <a:xfrm>
            <a:off x="11366240" y="3120273"/>
            <a:ext cx="372237" cy="44333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2700">
            <a:solidFill>
              <a:srgbClr val="5E5E5E"/>
            </a:solidFill>
            <a:prstDash val="sysDot"/>
            <a:miter lim="400000"/>
          </a:ln>
        </p:spPr>
        <p:txBody>
          <a:bodyPr lIns="32927" tIns="32927" rIns="32927" bIns="32927" anchor="ctr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xmlns="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9629" y="4091501"/>
            <a:ext cx="264850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9629" y="4811621"/>
            <a:ext cx="2648505" cy="27320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xmlns="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30315" y="4091501"/>
            <a:ext cx="264850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30315" y="4796585"/>
            <a:ext cx="2648505" cy="2747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xmlns="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0555" y="4091501"/>
            <a:ext cx="264850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0555" y="4811621"/>
            <a:ext cx="2648505" cy="27320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xmlns="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36798" y="3272209"/>
            <a:ext cx="3169746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:a16="http://schemas.microsoft.com/office/drawing/2014/main" xmlns="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336798" y="3964604"/>
            <a:ext cx="3169746" cy="343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xmlns="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230315" y="3032827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xmlns="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890556" y="3032827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xmlns="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03549" y="3032827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xmlns="" id="{B2C42A6C-EAEB-EA4C-ADC8-0D1BC723F663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5" name="Marcador de texto 4">
            <a:extLst>
              <a:ext uri="{FF2B5EF4-FFF2-40B4-BE49-F238E27FC236}">
                <a16:creationId xmlns:a16="http://schemas.microsoft.com/office/drawing/2014/main" xmlns="" id="{535EAA60-8045-0240-8A28-73BA9C14F5A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7578" y="8483676"/>
            <a:ext cx="11131590" cy="504025"/>
          </a:xfrm>
          <a:prstGeom prst="rect">
            <a:avLst/>
          </a:prstGeom>
        </p:spPr>
        <p:txBody>
          <a:bodyPr/>
          <a:lstStyle>
            <a:lvl1pPr marL="296335" indent="-296335">
              <a:lnSpc>
                <a:spcPct val="100000"/>
              </a:lnSpc>
              <a:spcBef>
                <a:spcPts val="13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6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4" name="Marcador de número de diapositiva 1">
            <a:extLst>
              <a:ext uri="{FF2B5EF4-FFF2-40B4-BE49-F238E27FC236}">
                <a16:creationId xmlns:a16="http://schemas.microsoft.com/office/drawing/2014/main" xmlns="" id="{56ABEE02-19A8-CB4B-AAEE-AD0D006CF50C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767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:a16="http://schemas.microsoft.com/office/drawing/2014/main" xmlns="" id="{D6D37DC4-4EA6-9544-8D43-FDA98A0A4224}"/>
              </a:ext>
            </a:extLst>
          </p:cNvPr>
          <p:cNvSpPr/>
          <p:nvPr/>
        </p:nvSpPr>
        <p:spPr>
          <a:xfrm>
            <a:off x="7655653" y="2479238"/>
            <a:ext cx="0" cy="5720748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47" y="5229647"/>
            <a:ext cx="2648505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7227" y="5229647"/>
            <a:ext cx="2648505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09205" y="5229648"/>
            <a:ext cx="2648505" cy="2907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xmlns="" id="{5BEE3994-12D6-1249-9576-D8A33A059B6C}"/>
              </a:ext>
            </a:extLst>
          </p:cNvPr>
          <p:cNvSpPr/>
          <p:nvPr/>
        </p:nvSpPr>
        <p:spPr>
          <a:xfrm>
            <a:off x="3954192" y="2479238"/>
            <a:ext cx="0" cy="5720748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947" y="4537252"/>
            <a:ext cx="264850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:a16="http://schemas.microsoft.com/office/drawing/2014/main" xmlns="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7227" y="4537252"/>
            <a:ext cx="264850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:a16="http://schemas.microsoft.com/office/drawing/2014/main" xmlns="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09205" y="4537252"/>
            <a:ext cx="264850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xmlns="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8949" y="2479423"/>
            <a:ext cx="2151831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xmlns="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17226" y="2479423"/>
            <a:ext cx="2151831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xmlns="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009204" y="2479423"/>
            <a:ext cx="2151831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7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01B948B3-DB47-A043-9304-7B7517D269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xmlns="" id="{A4E86421-B524-F343-BE2D-F76DC66259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xmlns="" id="{865B8F1A-8A3E-9B4C-8102-F44E09646749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Rectángulo 27">
            <a:extLst>
              <a:ext uri="{FF2B5EF4-FFF2-40B4-BE49-F238E27FC236}">
                <a16:creationId xmlns:a16="http://schemas.microsoft.com/office/drawing/2014/main" xmlns="" id="{2C43F09E-A773-E547-95D6-CF8477D8072A}"/>
              </a:ext>
            </a:extLst>
          </p:cNvPr>
          <p:cNvSpPr>
            <a:spLocks/>
          </p:cNvSpPr>
          <p:nvPr/>
        </p:nvSpPr>
        <p:spPr>
          <a:xfrm>
            <a:off x="12201984" y="4919082"/>
            <a:ext cx="3396684" cy="7714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52" tIns="65852" rIns="65852" bIns="65852" numCol="1" spcCol="38100" rtlCol="0" anchor="ctr">
            <a:spAutoFit/>
          </a:bodyPr>
          <a:lstStyle/>
          <a:p>
            <a:pPr algn="ctr" defTabSz="1070094" hangingPunct="0"/>
            <a:endParaRPr lang="es-CL" sz="4149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9" name="Línea">
            <a:extLst>
              <a:ext uri="{FF2B5EF4-FFF2-40B4-BE49-F238E27FC236}">
                <a16:creationId xmlns:a16="http://schemas.microsoft.com/office/drawing/2014/main" xmlns="" id="{9DE8E091-AF3D-B544-AF40-44C8999249F5}"/>
              </a:ext>
            </a:extLst>
          </p:cNvPr>
          <p:cNvSpPr/>
          <p:nvPr/>
        </p:nvSpPr>
        <p:spPr>
          <a:xfrm>
            <a:off x="11356217" y="2452454"/>
            <a:ext cx="372201" cy="57207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2700">
            <a:solidFill>
              <a:srgbClr val="5E5E5E"/>
            </a:solidFill>
            <a:prstDash val="sysDot"/>
            <a:miter lim="400000"/>
          </a:ln>
        </p:spPr>
        <p:txBody>
          <a:bodyPr lIns="32927" tIns="32927" rIns="32927" bIns="32927" anchor="ctr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xmlns="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23145" y="2668950"/>
            <a:ext cx="316638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:a16="http://schemas.microsoft.com/office/drawing/2014/main" xmlns="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323145" y="3443908"/>
            <a:ext cx="3166389" cy="45223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1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xmlns="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6529" y="8488767"/>
            <a:ext cx="11131590" cy="488022"/>
          </a:xfrm>
          <a:prstGeom prst="rect">
            <a:avLst/>
          </a:prstGeom>
        </p:spPr>
        <p:txBody>
          <a:bodyPr anchor="t"/>
          <a:lstStyle>
            <a:lvl1pPr marL="296335" marR="0" indent="-296335" algn="l" defTabSz="1579418" eaLnBrk="1" fontAlgn="auto" latinLnBrk="0" hangingPunct="1">
              <a:lnSpc>
                <a:spcPct val="90000"/>
              </a:lnSpc>
              <a:spcBef>
                <a:spcPts val="130"/>
              </a:spcBef>
              <a:spcAft>
                <a:spcPts val="13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6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marL="296335" marR="0" lvl="0" indent="-296335" algn="l" defTabSz="1579418" eaLnBrk="1" fontAlgn="auto" latinLnBrk="0" hangingPunct="1">
              <a:lnSpc>
                <a:spcPct val="100000"/>
              </a:lnSpc>
              <a:spcBef>
                <a:spcPts val="13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3" name="Marcador de número de diapositiva 1">
            <a:extLst>
              <a:ext uri="{FF2B5EF4-FFF2-40B4-BE49-F238E27FC236}">
                <a16:creationId xmlns:a16="http://schemas.microsoft.com/office/drawing/2014/main" xmlns="" id="{7E8D1AE2-C96D-944A-9417-52B4E3C75A44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1140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118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11EC41E5-806D-2E4E-AAA0-2EC2EC18FE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:a16="http://schemas.microsoft.com/office/drawing/2014/main" xmlns="" id="{2911EB5D-1BA9-2A4A-845D-FB2FAE605904}"/>
              </a:ext>
            </a:extLst>
          </p:cNvPr>
          <p:cNvSpPr/>
          <p:nvPr/>
        </p:nvSpPr>
        <p:spPr>
          <a:xfrm>
            <a:off x="12249824" y="4895096"/>
            <a:ext cx="3348844" cy="7714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52" tIns="65852" rIns="65852" bIns="65852" numCol="1" spcCol="38100" rtlCol="0" anchor="ctr">
            <a:spAutoFit/>
          </a:bodyPr>
          <a:lstStyle/>
          <a:p>
            <a:pPr algn="ctr" defTabSz="1070094" hangingPunct="0"/>
            <a:endParaRPr lang="es-CL" sz="4149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9671" y="3126854"/>
            <a:ext cx="7112460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xmlns="" id="{5BEE3994-12D6-1249-9576-D8A33A059B6C}"/>
              </a:ext>
            </a:extLst>
          </p:cNvPr>
          <p:cNvSpPr/>
          <p:nvPr/>
        </p:nvSpPr>
        <p:spPr>
          <a:xfrm>
            <a:off x="2569277" y="3122932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0837" y="3435055"/>
            <a:ext cx="150186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9671" y="4722509"/>
            <a:ext cx="7112460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:a16="http://schemas.microsoft.com/office/drawing/2014/main" xmlns="" id="{66BC8E95-AD01-7340-AEF4-FA9267A7B96C}"/>
              </a:ext>
            </a:extLst>
          </p:cNvPr>
          <p:cNvSpPr/>
          <p:nvPr/>
        </p:nvSpPr>
        <p:spPr>
          <a:xfrm>
            <a:off x="2569277" y="4718587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0837" y="5030710"/>
            <a:ext cx="150186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xmlns="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19671" y="6314242"/>
            <a:ext cx="7112460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:a16="http://schemas.microsoft.com/office/drawing/2014/main" xmlns="" id="{0F490E9C-14C0-9941-B731-8CF1EB77CFB0}"/>
              </a:ext>
            </a:extLst>
          </p:cNvPr>
          <p:cNvSpPr/>
          <p:nvPr/>
        </p:nvSpPr>
        <p:spPr>
          <a:xfrm>
            <a:off x="2569277" y="6310320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xmlns="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0837" y="6622443"/>
            <a:ext cx="150186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:a16="http://schemas.microsoft.com/office/drawing/2014/main" xmlns="" id="{2DC4370E-6F27-3245-98B3-67FCA3D4DD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xmlns="" id="{3FA1E7A8-C92D-2847-B100-27B26CD116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xmlns="" id="{DB4315D6-AD8D-3949-8F34-E00C5056579B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0" name="Línea">
            <a:extLst>
              <a:ext uri="{FF2B5EF4-FFF2-40B4-BE49-F238E27FC236}">
                <a16:creationId xmlns:a16="http://schemas.microsoft.com/office/drawing/2014/main" xmlns="" id="{76F4E9D5-0812-A140-93FE-620B638443FF}"/>
              </a:ext>
            </a:extLst>
          </p:cNvPr>
          <p:cNvSpPr/>
          <p:nvPr/>
        </p:nvSpPr>
        <p:spPr>
          <a:xfrm>
            <a:off x="11099373" y="3113405"/>
            <a:ext cx="372201" cy="4347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2700">
            <a:solidFill>
              <a:srgbClr val="5E5E5E"/>
            </a:solidFill>
            <a:prstDash val="sysDot"/>
            <a:miter lim="400000"/>
          </a:ln>
        </p:spPr>
        <p:txBody>
          <a:bodyPr lIns="32927" tIns="32927" rIns="32927" bIns="32927" anchor="ctr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38926" y="3277719"/>
            <a:ext cx="316638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xmlns="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338926" y="3952719"/>
            <a:ext cx="3166389" cy="336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1</a:t>
            </a:r>
            <a:endParaRPr lang="es-CL" dirty="0"/>
          </a:p>
        </p:txBody>
      </p:sp>
      <p:sp>
        <p:nvSpPr>
          <p:cNvPr id="43" name="Marcador de texto 4">
            <a:extLst>
              <a:ext uri="{FF2B5EF4-FFF2-40B4-BE49-F238E27FC236}">
                <a16:creationId xmlns:a16="http://schemas.microsoft.com/office/drawing/2014/main" xmlns="" id="{7E4CF988-A96C-B747-AC71-EB9FDD4EAE7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7578" y="8499678"/>
            <a:ext cx="11131590" cy="488022"/>
          </a:xfrm>
          <a:prstGeom prst="rect">
            <a:avLst/>
          </a:prstGeom>
        </p:spPr>
        <p:txBody>
          <a:bodyPr/>
          <a:lstStyle>
            <a:lvl1pPr marL="296335" indent="-296335">
              <a:lnSpc>
                <a:spcPct val="100000"/>
              </a:lnSpc>
              <a:spcBef>
                <a:spcPts val="13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6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2" name="Marcador de número de diapositiva 1">
            <a:extLst>
              <a:ext uri="{FF2B5EF4-FFF2-40B4-BE49-F238E27FC236}">
                <a16:creationId xmlns:a16="http://schemas.microsoft.com/office/drawing/2014/main" xmlns="" id="{5C893E49-5789-F84C-98C6-FE670ACF291B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669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0B42D332-2844-E942-96BC-37A626E303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xmlns="" id="{52ED1F8C-1BD3-014F-996B-FFB80867B4C0}"/>
              </a:ext>
            </a:extLst>
          </p:cNvPr>
          <p:cNvSpPr/>
          <p:nvPr/>
        </p:nvSpPr>
        <p:spPr>
          <a:xfrm>
            <a:off x="12245701" y="4744472"/>
            <a:ext cx="3348844" cy="7714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52" tIns="65852" rIns="65852" bIns="65852" numCol="1" spcCol="38100" rtlCol="0" anchor="ctr">
            <a:spAutoFit/>
          </a:bodyPr>
          <a:lstStyle/>
          <a:p>
            <a:pPr algn="ctr" defTabSz="1070094" hangingPunct="0"/>
            <a:endParaRPr lang="es-CL" sz="4149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xmlns="" id="{41C22BEC-E3DB-B444-918C-AC167E7F1462}"/>
              </a:ext>
            </a:extLst>
          </p:cNvPr>
          <p:cNvCxnSpPr>
            <a:cxnSpLocks/>
          </p:cNvCxnSpPr>
          <p:nvPr/>
        </p:nvCxnSpPr>
        <p:spPr>
          <a:xfrm>
            <a:off x="607482" y="4091035"/>
            <a:ext cx="106896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xmlns="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351340" y="2846979"/>
            <a:ext cx="1651457" cy="5247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xmlns="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175758" y="2846979"/>
            <a:ext cx="8121358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75758" y="2289964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:a16="http://schemas.microsoft.com/office/drawing/2014/main" xmlns="" id="{5880D28B-3A3F-674A-8248-0EF336123F8D}"/>
              </a:ext>
            </a:extLst>
          </p:cNvPr>
          <p:cNvCxnSpPr>
            <a:cxnSpLocks/>
          </p:cNvCxnSpPr>
          <p:nvPr/>
        </p:nvCxnSpPr>
        <p:spPr>
          <a:xfrm>
            <a:off x="3175758" y="2680620"/>
            <a:ext cx="8121358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:a16="http://schemas.microsoft.com/office/drawing/2014/main" xmlns="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97028" y="2846979"/>
            <a:ext cx="621928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xmlns="" id="{4F3DCFE7-4201-D24B-8EB4-FA55068862F1}"/>
              </a:ext>
            </a:extLst>
          </p:cNvPr>
          <p:cNvCxnSpPr>
            <a:cxnSpLocks/>
          </p:cNvCxnSpPr>
          <p:nvPr/>
        </p:nvCxnSpPr>
        <p:spPr>
          <a:xfrm>
            <a:off x="607482" y="6153793"/>
            <a:ext cx="106896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:a16="http://schemas.microsoft.com/office/drawing/2014/main" xmlns="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351340" y="4909737"/>
            <a:ext cx="1651457" cy="5247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xmlns="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175758" y="4909736"/>
            <a:ext cx="8121358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xmlns="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175758" y="4352723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xmlns="" id="{0DA84D03-C754-C246-AC09-A3CAE3A0D217}"/>
              </a:ext>
            </a:extLst>
          </p:cNvPr>
          <p:cNvCxnSpPr>
            <a:cxnSpLocks/>
          </p:cNvCxnSpPr>
          <p:nvPr/>
        </p:nvCxnSpPr>
        <p:spPr>
          <a:xfrm>
            <a:off x="3175758" y="4743376"/>
            <a:ext cx="8121358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:a16="http://schemas.microsoft.com/office/drawing/2014/main" xmlns="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97028" y="4909737"/>
            <a:ext cx="621928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xmlns="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351340" y="6973852"/>
            <a:ext cx="1651457" cy="5247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xmlns="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175758" y="6973852"/>
            <a:ext cx="8121358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xmlns="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175758" y="641683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:a16="http://schemas.microsoft.com/office/drawing/2014/main" xmlns="" id="{075E9141-63D8-A545-AC28-243D934CB544}"/>
              </a:ext>
            </a:extLst>
          </p:cNvPr>
          <p:cNvCxnSpPr>
            <a:cxnSpLocks/>
          </p:cNvCxnSpPr>
          <p:nvPr/>
        </p:nvCxnSpPr>
        <p:spPr>
          <a:xfrm>
            <a:off x="3175758" y="6807494"/>
            <a:ext cx="8121358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:a16="http://schemas.microsoft.com/office/drawing/2014/main" xmlns="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97028" y="6973852"/>
            <a:ext cx="621928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xmlns="" id="{50D4A3DA-0BFA-9048-A9F2-8AFC5BB147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xmlns="" id="{E3B926F9-52CC-904E-99EC-8EC6F2FC0E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xmlns="" id="{2016285C-15E9-1F48-A0A9-F948CBC44D05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Línea">
            <a:extLst>
              <a:ext uri="{FF2B5EF4-FFF2-40B4-BE49-F238E27FC236}">
                <a16:creationId xmlns:a16="http://schemas.microsoft.com/office/drawing/2014/main" xmlns="" id="{2598575A-8812-4C4C-9DE4-B0E91EF560AE}"/>
              </a:ext>
            </a:extLst>
          </p:cNvPr>
          <p:cNvSpPr/>
          <p:nvPr/>
        </p:nvSpPr>
        <p:spPr>
          <a:xfrm>
            <a:off x="11686476" y="2289963"/>
            <a:ext cx="372201" cy="5670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2700">
            <a:solidFill>
              <a:srgbClr val="5E5E5E"/>
            </a:solidFill>
            <a:prstDash val="sysDot"/>
            <a:miter lim="400000"/>
          </a:ln>
        </p:spPr>
        <p:txBody>
          <a:bodyPr lIns="32927" tIns="32927" rIns="32927" bIns="32927" anchor="ctr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xmlns="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56536" y="2536578"/>
            <a:ext cx="316638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356536" y="3291317"/>
            <a:ext cx="3166389" cy="45330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1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:a16="http://schemas.microsoft.com/office/drawing/2014/main" xmlns="" id="{7CE877C8-6FB2-CF43-A084-04A7252530E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07578" y="8499678"/>
            <a:ext cx="11131590" cy="488022"/>
          </a:xfrm>
          <a:prstGeom prst="rect">
            <a:avLst/>
          </a:prstGeom>
        </p:spPr>
        <p:txBody>
          <a:bodyPr/>
          <a:lstStyle>
            <a:lvl1pPr marL="296335" indent="-296335">
              <a:lnSpc>
                <a:spcPct val="100000"/>
              </a:lnSpc>
              <a:spcBef>
                <a:spcPts val="13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6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gunda fuente Arial 9</a:t>
            </a:r>
          </a:p>
        </p:txBody>
      </p:sp>
      <p:sp>
        <p:nvSpPr>
          <p:cNvPr id="30" name="Marcador de número de diapositiva 1">
            <a:extLst>
              <a:ext uri="{FF2B5EF4-FFF2-40B4-BE49-F238E27FC236}">
                <a16:creationId xmlns:a16="http://schemas.microsoft.com/office/drawing/2014/main" xmlns="" id="{DE7DDA5A-276E-CB47-A6EE-D8DA276AB5C9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765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orient="horz" pos="1094">
          <p15:clr>
            <a:srgbClr val="FBAE40"/>
          </p15:clr>
        </p15:guide>
        <p15:guide id="3" orient="horz" pos="2546">
          <p15:clr>
            <a:srgbClr val="FBAE40"/>
          </p15:clr>
        </p15:guide>
        <p15:guide id="4" orient="horz" pos="3816">
          <p15:clr>
            <a:srgbClr val="FBAE40"/>
          </p15:clr>
        </p15:guide>
        <p15:guide id="5" pos="150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9645" y="2127352"/>
            <a:ext cx="15004805" cy="629766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95000"/>
              <a:buFontTx/>
              <a:buNone/>
              <a:defRPr sz="1555" b="0" i="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876654" indent="-481543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739934" indent="-431126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172088" indent="-472283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2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06FF6208-CD08-8E47-9BAA-A863554281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389"/>
              </a:spcBef>
              <a:spcAft>
                <a:spcPts val="389"/>
              </a:spcAft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494CAD2D-CD32-1249-958A-65ED5F0923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389"/>
              </a:spcBef>
              <a:spcAft>
                <a:spcPts val="389"/>
              </a:spcAft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7040410E-9306-E647-893D-D9EF259D3939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Marcador de número de diapositiva 1">
            <a:extLst>
              <a:ext uri="{FF2B5EF4-FFF2-40B4-BE49-F238E27FC236}">
                <a16:creationId xmlns:a16="http://schemas.microsoft.com/office/drawing/2014/main" xmlns="" id="{3E01F080-8D37-2B47-8812-99327730ED2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44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xmlns="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7028" y="2127351"/>
            <a:ext cx="14997518" cy="62086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55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90223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85336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80448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Carta Gantt </a:t>
            </a:r>
            <a:r>
              <a:rPr lang="es-ES" dirty="0" err="1"/>
              <a:t>Think-Cell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D5A5B4A9-A45D-694A-AE21-A97E867530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49F44C0-AF22-E34B-AF53-9F0990961B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xmlns="" id="{3427E666-AEDB-2248-BBC2-C9F153557C5A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xmlns="" id="{0CCB551E-6858-0549-984C-C96EFB7C6CC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8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9848" y="5784057"/>
            <a:ext cx="13771721" cy="1787723"/>
          </a:xfrm>
        </p:spPr>
        <p:txBody>
          <a:bodyPr anchor="t"/>
          <a:lstStyle>
            <a:lvl1pPr algn="l">
              <a:defRPr sz="6300" b="1" cap="all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79848" y="3815062"/>
            <a:ext cx="13771721" cy="1968995"/>
          </a:xfrm>
        </p:spPr>
        <p:txBody>
          <a:bodyPr anchor="b"/>
          <a:lstStyle>
            <a:lvl1pPr marL="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72009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44018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216027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8803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60045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3205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504063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7607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5-03-2024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943269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illa con foto o bloque 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xmlns="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0" y="0"/>
            <a:ext cx="12565508" cy="90011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55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90223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85336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80448" indent="0">
              <a:buFontTx/>
              <a:buNone/>
              <a:defRPr sz="1685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Foto o Color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D5A5B4A9-A45D-694A-AE21-A97E867530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1476226"/>
            <a:ext cx="9529239" cy="5419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457" b="1" i="0">
                <a:solidFill>
                  <a:schemeClr val="bg1"/>
                </a:solidFill>
                <a:highlight>
                  <a:srgbClr val="004D53"/>
                </a:highlight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3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49F44C0-AF22-E34B-AF53-9F0990961B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2018181"/>
            <a:ext cx="9529239" cy="467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370" b="0" i="0">
                <a:solidFill>
                  <a:schemeClr val="bg2"/>
                </a:solidFill>
                <a:highlight>
                  <a:srgbClr val="004D53"/>
                </a:highlight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2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xmlns="" id="{0CCB551E-6858-0549-984C-C96EFB7C6CC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B3BB6947-D06F-8B45-8204-10AC3157CEF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79640" y="628566"/>
            <a:ext cx="1095273" cy="10003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334" b="0" i="0">
                <a:solidFill>
                  <a:schemeClr val="bg2"/>
                </a:solidFill>
                <a:highlight>
                  <a:srgbClr val="004D53"/>
                </a:highlight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0623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31076" y="2722917"/>
            <a:ext cx="6246798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:a16="http://schemas.microsoft.com/office/drawing/2014/main" xmlns="" id="{6702EB9E-A1FA-954C-A832-0A7EDF090520}"/>
              </a:ext>
            </a:extLst>
          </p:cNvPr>
          <p:cNvSpPr/>
          <p:nvPr/>
        </p:nvSpPr>
        <p:spPr>
          <a:xfrm>
            <a:off x="597028" y="2722920"/>
            <a:ext cx="201039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074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0" name="Flecha">
            <a:extLst>
              <a:ext uri="{FF2B5EF4-FFF2-40B4-BE49-F238E27FC236}">
                <a16:creationId xmlns:a16="http://schemas.microsoft.com/office/drawing/2014/main" xmlns="" id="{E6B1C39A-FDE2-BC40-B223-3FEEA317B028}"/>
              </a:ext>
            </a:extLst>
          </p:cNvPr>
          <p:cNvSpPr/>
          <p:nvPr/>
        </p:nvSpPr>
        <p:spPr>
          <a:xfrm>
            <a:off x="3008351" y="2722920"/>
            <a:ext cx="2419202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6335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55" dirty="0">
              <a:solidFill>
                <a:srgbClr val="FFFFFF"/>
              </a:solidFill>
              <a:latin typeface="Barlow Regular"/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xmlns="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08352" y="214611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xmlns="" id="{E707E9D6-1E74-A645-A036-DEA93AAF701B}"/>
              </a:ext>
            </a:extLst>
          </p:cNvPr>
          <p:cNvCxnSpPr>
            <a:cxnSpLocks/>
          </p:cNvCxnSpPr>
          <p:nvPr/>
        </p:nvCxnSpPr>
        <p:spPr>
          <a:xfrm>
            <a:off x="3008351" y="2536771"/>
            <a:ext cx="2419202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:a16="http://schemas.microsoft.com/office/drawing/2014/main" xmlns="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31079" y="214611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xmlns="" id="{516A11E3-D171-8641-AA4E-29E854F66822}"/>
              </a:ext>
            </a:extLst>
          </p:cNvPr>
          <p:cNvCxnSpPr>
            <a:cxnSpLocks/>
          </p:cNvCxnSpPr>
          <p:nvPr/>
        </p:nvCxnSpPr>
        <p:spPr>
          <a:xfrm>
            <a:off x="5831076" y="2536771"/>
            <a:ext cx="624679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:a16="http://schemas.microsoft.com/office/drawing/2014/main" xmlns="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468021" y="2722918"/>
            <a:ext cx="3129089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xmlns="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468021" y="214611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xmlns="" id="{4F85BE26-F0D1-724D-91CA-79E04ECAC02F}"/>
              </a:ext>
            </a:extLst>
          </p:cNvPr>
          <p:cNvCxnSpPr>
            <a:cxnSpLocks/>
          </p:cNvCxnSpPr>
          <p:nvPr/>
        </p:nvCxnSpPr>
        <p:spPr>
          <a:xfrm>
            <a:off x="12468021" y="2536771"/>
            <a:ext cx="3129089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:a16="http://schemas.microsoft.com/office/drawing/2014/main" xmlns="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097701" y="2832619"/>
            <a:ext cx="1655688" cy="474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xmlns="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03137" y="2832619"/>
            <a:ext cx="1655688" cy="474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xmlns="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831076" y="4840828"/>
            <a:ext cx="6246798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:a16="http://schemas.microsoft.com/office/drawing/2014/main" xmlns="" id="{FD1CB431-1820-2345-98EC-38025759AF2F}"/>
              </a:ext>
            </a:extLst>
          </p:cNvPr>
          <p:cNvSpPr/>
          <p:nvPr/>
        </p:nvSpPr>
        <p:spPr>
          <a:xfrm>
            <a:off x="597028" y="4840831"/>
            <a:ext cx="201039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074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0" name="Flecha">
            <a:extLst>
              <a:ext uri="{FF2B5EF4-FFF2-40B4-BE49-F238E27FC236}">
                <a16:creationId xmlns:a16="http://schemas.microsoft.com/office/drawing/2014/main" xmlns="" id="{51D30188-BA2F-E041-9E44-E9C991347A3B}"/>
              </a:ext>
            </a:extLst>
          </p:cNvPr>
          <p:cNvSpPr/>
          <p:nvPr/>
        </p:nvSpPr>
        <p:spPr>
          <a:xfrm>
            <a:off x="3008351" y="4840831"/>
            <a:ext cx="2419202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6335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55" dirty="0">
              <a:solidFill>
                <a:srgbClr val="FFFFFF"/>
              </a:solidFill>
              <a:latin typeface="Barlow Regular"/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xmlns="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08352" y="426402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xmlns="" id="{FA62AC02-A4CB-9E42-9966-0638ADE12337}"/>
              </a:ext>
            </a:extLst>
          </p:cNvPr>
          <p:cNvCxnSpPr>
            <a:cxnSpLocks/>
          </p:cNvCxnSpPr>
          <p:nvPr/>
        </p:nvCxnSpPr>
        <p:spPr>
          <a:xfrm>
            <a:off x="3008351" y="4654683"/>
            <a:ext cx="2419202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xmlns="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31079" y="426402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:a16="http://schemas.microsoft.com/office/drawing/2014/main" xmlns="" id="{0C6E77F8-65E8-494D-8105-C0A16B41DC03}"/>
              </a:ext>
            </a:extLst>
          </p:cNvPr>
          <p:cNvCxnSpPr>
            <a:cxnSpLocks/>
          </p:cNvCxnSpPr>
          <p:nvPr/>
        </p:nvCxnSpPr>
        <p:spPr>
          <a:xfrm>
            <a:off x="5831076" y="4654683"/>
            <a:ext cx="624679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xmlns="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468021" y="4840830"/>
            <a:ext cx="3129089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xmlns="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2468021" y="4264028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:a16="http://schemas.microsoft.com/office/drawing/2014/main" xmlns="" id="{3DD43F7B-D2ED-9042-8179-8A0FE56FD61C}"/>
              </a:ext>
            </a:extLst>
          </p:cNvPr>
          <p:cNvCxnSpPr>
            <a:cxnSpLocks/>
          </p:cNvCxnSpPr>
          <p:nvPr/>
        </p:nvCxnSpPr>
        <p:spPr>
          <a:xfrm>
            <a:off x="12468021" y="4654683"/>
            <a:ext cx="3129089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xmlns="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097701" y="4950530"/>
            <a:ext cx="1655688" cy="474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xmlns="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03137" y="4950530"/>
            <a:ext cx="1655688" cy="474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xmlns="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31076" y="7156845"/>
            <a:ext cx="6246798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:a16="http://schemas.microsoft.com/office/drawing/2014/main" xmlns="" id="{82768CE9-E1C4-3D4C-81F7-4374324630CD}"/>
              </a:ext>
            </a:extLst>
          </p:cNvPr>
          <p:cNvSpPr/>
          <p:nvPr/>
        </p:nvSpPr>
        <p:spPr>
          <a:xfrm>
            <a:off x="597028" y="7156848"/>
            <a:ext cx="201039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074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3" name="Flecha">
            <a:extLst>
              <a:ext uri="{FF2B5EF4-FFF2-40B4-BE49-F238E27FC236}">
                <a16:creationId xmlns:a16="http://schemas.microsoft.com/office/drawing/2014/main" xmlns="" id="{11B2D5B3-C3A5-5A46-B783-E9DB7956E3FC}"/>
              </a:ext>
            </a:extLst>
          </p:cNvPr>
          <p:cNvSpPr/>
          <p:nvPr/>
        </p:nvSpPr>
        <p:spPr>
          <a:xfrm>
            <a:off x="3008351" y="7156848"/>
            <a:ext cx="2419202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6335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55" dirty="0">
              <a:solidFill>
                <a:srgbClr val="FFFFFF"/>
              </a:solidFill>
              <a:latin typeface="Barlow Regular"/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xmlns="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008352" y="6580046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:a16="http://schemas.microsoft.com/office/drawing/2014/main" xmlns="" id="{0312E910-2788-3D48-B437-F32CE1E92226}"/>
              </a:ext>
            </a:extLst>
          </p:cNvPr>
          <p:cNvCxnSpPr>
            <a:cxnSpLocks/>
          </p:cNvCxnSpPr>
          <p:nvPr/>
        </p:nvCxnSpPr>
        <p:spPr>
          <a:xfrm>
            <a:off x="3008351" y="6970699"/>
            <a:ext cx="2419202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xmlns="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65705" y="6580046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:a16="http://schemas.microsoft.com/office/drawing/2014/main" xmlns="" id="{D297A162-44E6-444F-B15F-B309FAC6EC0E}"/>
              </a:ext>
            </a:extLst>
          </p:cNvPr>
          <p:cNvCxnSpPr>
            <a:cxnSpLocks/>
          </p:cNvCxnSpPr>
          <p:nvPr/>
        </p:nvCxnSpPr>
        <p:spPr>
          <a:xfrm>
            <a:off x="5849924" y="6970699"/>
            <a:ext cx="624679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xmlns="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468019" y="7156845"/>
            <a:ext cx="3128777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xmlns="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2502648" y="6580046"/>
            <a:ext cx="221848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:a16="http://schemas.microsoft.com/office/drawing/2014/main" xmlns="" id="{52E5032A-A04E-AF48-A2B4-4FCA1E59EB6C}"/>
              </a:ext>
            </a:extLst>
          </p:cNvPr>
          <p:cNvCxnSpPr>
            <a:cxnSpLocks/>
          </p:cNvCxnSpPr>
          <p:nvPr/>
        </p:nvCxnSpPr>
        <p:spPr>
          <a:xfrm>
            <a:off x="12502650" y="6970699"/>
            <a:ext cx="3129089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:a16="http://schemas.microsoft.com/office/drawing/2014/main" xmlns="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097701" y="7266547"/>
            <a:ext cx="1655688" cy="474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xmlns="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03137" y="7266547"/>
            <a:ext cx="1655688" cy="474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47" name="Marcador de texto 4">
            <a:extLst>
              <a:ext uri="{FF2B5EF4-FFF2-40B4-BE49-F238E27FC236}">
                <a16:creationId xmlns:a16="http://schemas.microsoft.com/office/drawing/2014/main" xmlns="" id="{5A23BCE0-B3C8-6349-8275-A9F9C29862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7578" y="8499678"/>
            <a:ext cx="11131590" cy="488022"/>
          </a:xfrm>
          <a:prstGeom prst="rect">
            <a:avLst/>
          </a:prstGeom>
        </p:spPr>
        <p:txBody>
          <a:bodyPr/>
          <a:lstStyle>
            <a:lvl1pPr marL="296335" indent="-296335">
              <a:lnSpc>
                <a:spcPct val="100000"/>
              </a:lnSpc>
              <a:spcBef>
                <a:spcPts val="13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6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51" name="Marcador de texto 7">
            <a:extLst>
              <a:ext uri="{FF2B5EF4-FFF2-40B4-BE49-F238E27FC236}">
                <a16:creationId xmlns:a16="http://schemas.microsoft.com/office/drawing/2014/main" xmlns="" id="{AF5704FF-A3B1-E84F-83F0-30D6130B06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2" name="Marcador de texto 7">
            <a:extLst>
              <a:ext uri="{FF2B5EF4-FFF2-40B4-BE49-F238E27FC236}">
                <a16:creationId xmlns:a16="http://schemas.microsoft.com/office/drawing/2014/main" xmlns="" id="{218A46D2-9BBA-E74F-B136-1ADBF96B71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53" name="Conector recto 52">
            <a:extLst>
              <a:ext uri="{FF2B5EF4-FFF2-40B4-BE49-F238E27FC236}">
                <a16:creationId xmlns:a16="http://schemas.microsoft.com/office/drawing/2014/main" xmlns="" id="{6CB136D2-7C8D-8C41-9006-6F293BB4FC6A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4" name="Marcador de número de diapositiva 1">
            <a:extLst>
              <a:ext uri="{FF2B5EF4-FFF2-40B4-BE49-F238E27FC236}">
                <a16:creationId xmlns:a16="http://schemas.microsoft.com/office/drawing/2014/main" xmlns="" id="{87050FD3-AC61-8749-A7FE-27F946040F5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97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9631" y="4742405"/>
            <a:ext cx="3191558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xmlns="" id="{5BEE3994-12D6-1249-9576-D8A33A059B6C}"/>
              </a:ext>
            </a:extLst>
          </p:cNvPr>
          <p:cNvSpPr/>
          <p:nvPr/>
        </p:nvSpPr>
        <p:spPr>
          <a:xfrm flipH="1">
            <a:off x="589645" y="4384774"/>
            <a:ext cx="3195754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39732" y="3610359"/>
            <a:ext cx="165145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xmlns="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96893" y="4742405"/>
            <a:ext cx="3191558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:a16="http://schemas.microsoft.com/office/drawing/2014/main" xmlns="" id="{1892524C-5625-4F43-95F1-2336FF662D99}"/>
              </a:ext>
            </a:extLst>
          </p:cNvPr>
          <p:cNvSpPr/>
          <p:nvPr/>
        </p:nvSpPr>
        <p:spPr>
          <a:xfrm flipH="1">
            <a:off x="12392695" y="4384774"/>
            <a:ext cx="3195754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xmlns="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936994" y="3610359"/>
            <a:ext cx="165145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xmlns="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85191" y="4742405"/>
            <a:ext cx="3191558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:a16="http://schemas.microsoft.com/office/drawing/2014/main" xmlns="" id="{4B745506-C1E7-2346-B2DA-DBC633F63A51}"/>
              </a:ext>
            </a:extLst>
          </p:cNvPr>
          <p:cNvSpPr/>
          <p:nvPr/>
        </p:nvSpPr>
        <p:spPr>
          <a:xfrm flipH="1">
            <a:off x="8485189" y="4384774"/>
            <a:ext cx="3195754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xmlns="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35276" y="3610359"/>
            <a:ext cx="165145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xmlns="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8226" y="4742405"/>
            <a:ext cx="3191558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:a16="http://schemas.microsoft.com/office/drawing/2014/main" xmlns="" id="{F48F5271-2008-8D47-8756-E000ADACC1E6}"/>
              </a:ext>
            </a:extLst>
          </p:cNvPr>
          <p:cNvSpPr/>
          <p:nvPr/>
        </p:nvSpPr>
        <p:spPr>
          <a:xfrm flipH="1">
            <a:off x="4538225" y="4384774"/>
            <a:ext cx="3195754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634" rIns="29634"/>
          <a:lstStyle/>
          <a:p>
            <a:pPr defTabSz="1579418">
              <a:defRPr>
                <a:latin typeface="Arial"/>
                <a:ea typeface="Arial"/>
                <a:cs typeface="Arial"/>
                <a:sym typeface="Arial"/>
              </a:defRPr>
            </a:pPr>
            <a:endParaRPr sz="155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xmlns="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72533" y="3610359"/>
            <a:ext cx="165145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39" name="Marcador de texto 7">
            <a:extLst>
              <a:ext uri="{FF2B5EF4-FFF2-40B4-BE49-F238E27FC236}">
                <a16:creationId xmlns:a16="http://schemas.microsoft.com/office/drawing/2014/main" xmlns="" id="{A1ABE1C3-BEBA-4345-89D9-0376A17C72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xmlns="" id="{8CF76F9A-BCE3-1949-84F7-E39C480E440D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xmlns="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99629" y="3349875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:a16="http://schemas.microsoft.com/office/drawing/2014/main" xmlns="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538225" y="3349875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:a16="http://schemas.microsoft.com/office/drawing/2014/main" xmlns="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485188" y="3349875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xmlns="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2402687" y="3349875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3" name="Marcador de número de diapositiva 1">
            <a:extLst>
              <a:ext uri="{FF2B5EF4-FFF2-40B4-BE49-F238E27FC236}">
                <a16:creationId xmlns:a16="http://schemas.microsoft.com/office/drawing/2014/main" xmlns="" id="{44314748-1970-6449-AEA4-9025EB0E9E8A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708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0">
          <p15:clr>
            <a:srgbClr val="FBAE40"/>
          </p15:clr>
        </p15:guide>
        <p15:guide id="3" pos="179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:a16="http://schemas.microsoft.com/office/drawing/2014/main" xmlns="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59225" y="2655556"/>
            <a:ext cx="9297281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923" y="2882528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xmlns="" id="{918C4B25-4DE6-4C44-8031-9999A5B2D42B}"/>
              </a:ext>
            </a:extLst>
          </p:cNvPr>
          <p:cNvCxnSpPr/>
          <p:nvPr/>
        </p:nvCxnSpPr>
        <p:spPr>
          <a:xfrm>
            <a:off x="5020274" y="2596306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xmlns="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59225" y="4088305"/>
            <a:ext cx="9297281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xmlns="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99923" y="4315277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xmlns="" id="{82B8DDEA-E931-994F-86BA-42BAB21F35DB}"/>
              </a:ext>
            </a:extLst>
          </p:cNvPr>
          <p:cNvCxnSpPr/>
          <p:nvPr/>
        </p:nvCxnSpPr>
        <p:spPr>
          <a:xfrm>
            <a:off x="5020274" y="4029055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xmlns="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59225" y="5521052"/>
            <a:ext cx="9297281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xmlns="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99923" y="5748024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xmlns="" id="{25F53A69-89D3-734D-9B06-56318A2B5E6E}"/>
              </a:ext>
            </a:extLst>
          </p:cNvPr>
          <p:cNvCxnSpPr/>
          <p:nvPr/>
        </p:nvCxnSpPr>
        <p:spPr>
          <a:xfrm>
            <a:off x="5020274" y="5461802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xmlns="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59225" y="6953799"/>
            <a:ext cx="9297281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xmlns="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99923" y="7180771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12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xmlns="" id="{A420EF3B-A9EA-F74A-AFB4-B01AC7830323}"/>
              </a:ext>
            </a:extLst>
          </p:cNvPr>
          <p:cNvCxnSpPr/>
          <p:nvPr/>
        </p:nvCxnSpPr>
        <p:spPr>
          <a:xfrm>
            <a:off x="5020274" y="6894552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DE4BACB2-63A7-8249-90DE-03392B63AF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xmlns="" id="{44C08B65-9BE2-D54E-8B0D-81A8558954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xmlns="" id="{8BC3CA20-DA11-6C45-9824-1D2CE9018B05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xmlns="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305828" y="2729375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xmlns="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305828" y="4145282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xmlns="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1305828" y="5574674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xmlns="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288833" y="7004067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3" name="Marcador de número de diapositiva 1">
            <a:extLst>
              <a:ext uri="{FF2B5EF4-FFF2-40B4-BE49-F238E27FC236}">
                <a16:creationId xmlns:a16="http://schemas.microsoft.com/office/drawing/2014/main" xmlns="" id="{733529AD-8F9F-704C-BA61-C0DBE0ABF1A3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036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:a16="http://schemas.microsoft.com/office/drawing/2014/main" xmlns="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22516" y="2655556"/>
            <a:ext cx="4803750" cy="995899"/>
          </a:xfrm>
          <a:prstGeom prst="rect">
            <a:avLst/>
          </a:prstGeom>
        </p:spPr>
        <p:txBody>
          <a:bodyPr/>
          <a:lstStyle>
            <a:lvl1pPr marL="222251" indent="-222251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</a:p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3212" y="2882528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itulo Arial Bold 12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xmlns="" id="{918C4B25-4DE6-4C44-8031-9999A5B2D42B}"/>
              </a:ext>
            </a:extLst>
          </p:cNvPr>
          <p:cNvCxnSpPr/>
          <p:nvPr/>
        </p:nvCxnSpPr>
        <p:spPr>
          <a:xfrm>
            <a:off x="4783563" y="2596306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xmlns="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22514" y="4088305"/>
            <a:ext cx="4798415" cy="995899"/>
          </a:xfrm>
          <a:prstGeom prst="rect">
            <a:avLst/>
          </a:prstGeom>
        </p:spPr>
        <p:txBody>
          <a:bodyPr/>
          <a:lstStyle>
            <a:lvl1pPr marL="222251" indent="-222251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</a:p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xmlns="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3212" y="4315277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itulo Arial Bold 12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xmlns="" id="{82B8DDEA-E931-994F-86BA-42BAB21F35DB}"/>
              </a:ext>
            </a:extLst>
          </p:cNvPr>
          <p:cNvCxnSpPr/>
          <p:nvPr/>
        </p:nvCxnSpPr>
        <p:spPr>
          <a:xfrm>
            <a:off x="4783563" y="4044639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xmlns="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22514" y="5521052"/>
            <a:ext cx="4798415" cy="995899"/>
          </a:xfrm>
          <a:prstGeom prst="rect">
            <a:avLst/>
          </a:prstGeom>
        </p:spPr>
        <p:txBody>
          <a:bodyPr/>
          <a:lstStyle>
            <a:lvl1pPr marL="222251" indent="-222251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</a:p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xmlns="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63212" y="5748024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itulo Arial Bold 12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xmlns="" id="{25F53A69-89D3-734D-9B06-56318A2B5E6E}"/>
              </a:ext>
            </a:extLst>
          </p:cNvPr>
          <p:cNvCxnSpPr/>
          <p:nvPr/>
        </p:nvCxnSpPr>
        <p:spPr>
          <a:xfrm>
            <a:off x="4783563" y="5477388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xmlns="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22516" y="6953799"/>
            <a:ext cx="4803745" cy="995899"/>
          </a:xfrm>
          <a:prstGeom prst="rect">
            <a:avLst/>
          </a:prstGeom>
        </p:spPr>
        <p:txBody>
          <a:bodyPr/>
          <a:lstStyle>
            <a:lvl1pPr marL="222251" indent="-222251">
              <a:spcBef>
                <a:spcPts val="778"/>
              </a:spcBef>
              <a:spcAft>
                <a:spcPts val="778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1</a:t>
            </a:r>
          </a:p>
          <a:p>
            <a:pPr lvl="0"/>
            <a:r>
              <a:rPr lang="es-ES" dirty="0"/>
              <a:t>Texto Arial 11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xmlns="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63212" y="7180771"/>
            <a:ext cx="1670834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itulo Arial Bold 12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xmlns="" id="{A420EF3B-A9EA-F74A-AFB4-B01AC7830323}"/>
              </a:ext>
            </a:extLst>
          </p:cNvPr>
          <p:cNvCxnSpPr/>
          <p:nvPr/>
        </p:nvCxnSpPr>
        <p:spPr>
          <a:xfrm>
            <a:off x="4783563" y="6910138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xmlns="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168427" y="2655558"/>
            <a:ext cx="4416530" cy="2487898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74" b="0" i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xmlns="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1168427" y="5463883"/>
            <a:ext cx="4416530" cy="2487898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74" b="0" i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xmlns="" id="{288C3D81-70E3-E640-A8F1-5F9BC776E7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CA224D2A-463E-F44E-B957-558EF48EEF8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xmlns="" id="{BAF06C71-4A07-AD43-AFF0-5BD78A7A6B95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xmlns="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069118" y="2729375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xmlns="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069118" y="4145283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xmlns="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1069118" y="5574676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xmlns="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069118" y="7017553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xmlns="" id="{00EEDD02-633F-6842-BB13-982113D3993C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18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714" y="3892086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:a16="http://schemas.microsoft.com/office/drawing/2014/main" xmlns="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17796" y="3892086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xmlns="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9396" y="3892086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xmlns="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56777" y="3892086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xmlns="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5714" y="6660614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:a16="http://schemas.microsoft.com/office/drawing/2014/main" xmlns="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917796" y="6660614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xmlns="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9396" y="6660614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xmlns="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777" y="6660614"/>
            <a:ext cx="1969775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55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Bold 12</a:t>
            </a:r>
            <a:endParaRPr lang="es-CL" dirty="0"/>
          </a:p>
        </p:txBody>
      </p:sp>
      <p:sp>
        <p:nvSpPr>
          <p:cNvPr id="39" name="Marcador de texto 7">
            <a:extLst>
              <a:ext uri="{FF2B5EF4-FFF2-40B4-BE49-F238E27FC236}">
                <a16:creationId xmlns:a16="http://schemas.microsoft.com/office/drawing/2014/main" xmlns="" id="{466CCF29-0BEC-CF49-8626-471840C7F7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3" name="Marcador de texto 7">
            <a:extLst>
              <a:ext uri="{FF2B5EF4-FFF2-40B4-BE49-F238E27FC236}">
                <a16:creationId xmlns:a16="http://schemas.microsoft.com/office/drawing/2014/main" xmlns="" id="{2CBCA150-8D1E-DE49-B336-3FC70D12EB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xmlns="" id="{B26C482D-061A-5044-85A5-5CD8A73A06F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xmlns="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15711" y="552468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xmlns="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356775" y="552468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xmlns="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129395" y="552468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:a16="http://schemas.microsoft.com/office/drawing/2014/main" xmlns="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11917793" y="552468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xmlns="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356775" y="276029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xmlns="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129395" y="276029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:a16="http://schemas.microsoft.com/office/drawing/2014/main" xmlns="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1917793" y="276029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xmlns="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15711" y="2760298"/>
            <a:ext cx="1026227" cy="868484"/>
          </a:xfrm>
          <a:prstGeom prst="rect">
            <a:avLst/>
          </a:prstGeom>
        </p:spPr>
        <p:txBody>
          <a:bodyPr anchor="ctr"/>
          <a:lstStyle>
            <a:lvl1pPr marL="400050" marR="0" indent="-400050" algn="l" defTabSz="1599158" rtl="0" eaLnBrk="1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67" b="0" i="0">
                <a:latin typeface="Arial" panose="020B0604020202020204" pitchFamily="34" charset="0"/>
              </a:defRPr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3" name="Marcador de número de diapositiva 1">
            <a:extLst>
              <a:ext uri="{FF2B5EF4-FFF2-40B4-BE49-F238E27FC236}">
                <a16:creationId xmlns:a16="http://schemas.microsoft.com/office/drawing/2014/main" xmlns="" id="{A751B183-78E8-E248-BA93-655B946AA986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830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5632">
          <p15:clr>
            <a:srgbClr val="FBAE40"/>
          </p15:clr>
        </p15:guide>
        <p15:guide id="3" pos="3840">
          <p15:clr>
            <a:srgbClr val="FBAE40"/>
          </p15:clr>
        </p15:guide>
        <p15:guide id="4" pos="204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:a16="http://schemas.microsoft.com/office/drawing/2014/main" xmlns="" id="{2E83A0D3-D9D1-6D40-A776-3D97DAAA669E}"/>
              </a:ext>
            </a:extLst>
          </p:cNvPr>
          <p:cNvSpPr/>
          <p:nvPr/>
        </p:nvSpPr>
        <p:spPr>
          <a:xfrm flipH="1">
            <a:off x="3309079" y="6249278"/>
            <a:ext cx="2790981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074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:a16="http://schemas.microsoft.com/office/drawing/2014/main" xmlns="" id="{9779F4AF-5D4E-794B-A466-FB22A903A06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5277" y="2248306"/>
            <a:ext cx="10278408" cy="338834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1" name="Administración">
            <a:extLst>
              <a:ext uri="{FF2B5EF4-FFF2-40B4-BE49-F238E27FC236}">
                <a16:creationId xmlns:a16="http://schemas.microsoft.com/office/drawing/2014/main" xmlns="" id="{DFFF51D0-454E-A645-B8F5-D3110BFEC988}"/>
              </a:ext>
            </a:extLst>
          </p:cNvPr>
          <p:cNvSpPr txBox="1"/>
          <p:nvPr/>
        </p:nvSpPr>
        <p:spPr>
          <a:xfrm>
            <a:off x="3328512" y="3768949"/>
            <a:ext cx="2802723" cy="3737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2927" tIns="32927" rIns="32927" bIns="32927" numCol="1" anchor="ctr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73C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815" dirty="0" err="1">
                <a:solidFill>
                  <a:srgbClr val="0C662F"/>
                </a:solidFill>
              </a:rPr>
              <a:t>Administración</a:t>
            </a:r>
            <a:endParaRPr sz="1815" dirty="0">
              <a:solidFill>
                <a:srgbClr val="0C662F"/>
              </a:solidFill>
            </a:endParaRPr>
          </a:p>
        </p:txBody>
      </p:sp>
      <p:sp>
        <p:nvSpPr>
          <p:cNvPr id="42" name="Círculo">
            <a:extLst>
              <a:ext uri="{FF2B5EF4-FFF2-40B4-BE49-F238E27FC236}">
                <a16:creationId xmlns:a16="http://schemas.microsoft.com/office/drawing/2014/main" xmlns="" id="{47C42AAE-D2EA-A84A-871A-0C47609DE7C1}"/>
              </a:ext>
            </a:extLst>
          </p:cNvPr>
          <p:cNvSpPr/>
          <p:nvPr/>
        </p:nvSpPr>
        <p:spPr>
          <a:xfrm>
            <a:off x="2760231" y="3671443"/>
            <a:ext cx="548846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32927" tIns="32927" rIns="32927" bIns="32927" numCol="1" anchor="ctr">
            <a:noAutofit/>
          </a:bodyPr>
          <a:lstStyle/>
          <a:p>
            <a:pPr algn="ctr" defTabSz="535047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074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:a16="http://schemas.microsoft.com/office/drawing/2014/main" xmlns="" id="{0FCA73FE-D49A-7545-825C-40B69769AC2B}"/>
              </a:ext>
            </a:extLst>
          </p:cNvPr>
          <p:cNvSpPr txBox="1"/>
          <p:nvPr/>
        </p:nvSpPr>
        <p:spPr>
          <a:xfrm>
            <a:off x="2905840" y="3749326"/>
            <a:ext cx="272929" cy="4387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592" dirty="0"/>
              <a:t>1</a:t>
            </a:r>
          </a:p>
        </p:txBody>
      </p:sp>
      <p:sp>
        <p:nvSpPr>
          <p:cNvPr id="45" name="Directorio">
            <a:extLst>
              <a:ext uri="{FF2B5EF4-FFF2-40B4-BE49-F238E27FC236}">
                <a16:creationId xmlns:a16="http://schemas.microsoft.com/office/drawing/2014/main" xmlns="" id="{C65E3301-BF94-954C-9554-3D86E498559B}"/>
              </a:ext>
            </a:extLst>
          </p:cNvPr>
          <p:cNvSpPr txBox="1"/>
          <p:nvPr/>
        </p:nvSpPr>
        <p:spPr>
          <a:xfrm>
            <a:off x="6748991" y="3820649"/>
            <a:ext cx="2790981" cy="3737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2927" tIns="32927" rIns="32927" bIns="32927" numCol="1" anchor="ctr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815" dirty="0">
                <a:solidFill>
                  <a:srgbClr val="616161"/>
                </a:solidFill>
              </a:rPr>
              <a:t>Directorio</a:t>
            </a:r>
          </a:p>
        </p:txBody>
      </p:sp>
      <p:sp>
        <p:nvSpPr>
          <p:cNvPr id="46" name="Entorno">
            <a:extLst>
              <a:ext uri="{FF2B5EF4-FFF2-40B4-BE49-F238E27FC236}">
                <a16:creationId xmlns:a16="http://schemas.microsoft.com/office/drawing/2014/main" xmlns="" id="{6F22C8AB-A0DE-6142-8ACF-8BC05C3A6EE7}"/>
              </a:ext>
            </a:extLst>
          </p:cNvPr>
          <p:cNvSpPr txBox="1"/>
          <p:nvPr/>
        </p:nvSpPr>
        <p:spPr>
          <a:xfrm>
            <a:off x="10126268" y="3819830"/>
            <a:ext cx="2790981" cy="3737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2927" tIns="32927" rIns="32927" bIns="32927" numCol="1" anchor="ctr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815" dirty="0" err="1">
                <a:solidFill>
                  <a:srgbClr val="83B727"/>
                </a:solidFill>
              </a:rPr>
              <a:t>Entorno</a:t>
            </a:r>
            <a:r>
              <a:rPr sz="1815" dirty="0">
                <a:solidFill>
                  <a:srgbClr val="83B727"/>
                </a:solidFill>
              </a:rPr>
              <a:t> 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:a16="http://schemas.microsoft.com/office/drawing/2014/main" xmlns="" id="{45ECB7D4-EDAE-FE48-9F43-04C457C03100}"/>
              </a:ext>
            </a:extLst>
          </p:cNvPr>
          <p:cNvSpPr/>
          <p:nvPr/>
        </p:nvSpPr>
        <p:spPr>
          <a:xfrm>
            <a:off x="10291786" y="4981702"/>
            <a:ext cx="548846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32927" tIns="32927" rIns="32927" bIns="32927" numCol="1" anchor="ctr">
            <a:noAutofit/>
          </a:bodyPr>
          <a:lstStyle/>
          <a:p>
            <a:pPr algn="ctr" defTabSz="535047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074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:a16="http://schemas.microsoft.com/office/drawing/2014/main" xmlns="" id="{ECA73037-CC25-994E-B9C4-3D9D5FEDFBCF}"/>
              </a:ext>
            </a:extLst>
          </p:cNvPr>
          <p:cNvSpPr txBox="1"/>
          <p:nvPr/>
        </p:nvSpPr>
        <p:spPr>
          <a:xfrm>
            <a:off x="10445527" y="5052331"/>
            <a:ext cx="272929" cy="438774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592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:a16="http://schemas.microsoft.com/office/drawing/2014/main" xmlns="" id="{B91AEEFA-2801-0E4A-A557-935B69C160C0}"/>
              </a:ext>
            </a:extLst>
          </p:cNvPr>
          <p:cNvSpPr/>
          <p:nvPr/>
        </p:nvSpPr>
        <p:spPr>
          <a:xfrm>
            <a:off x="6846055" y="2327379"/>
            <a:ext cx="548846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32927" tIns="32927" rIns="32927" bIns="32927" numCol="1" anchor="ctr">
            <a:noAutofit/>
          </a:bodyPr>
          <a:lstStyle/>
          <a:p>
            <a:pPr algn="ctr" defTabSz="535047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074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:a16="http://schemas.microsoft.com/office/drawing/2014/main" xmlns="" id="{5CB1B3A6-600F-8646-AE4B-9007700B8084}"/>
              </a:ext>
            </a:extLst>
          </p:cNvPr>
          <p:cNvSpPr txBox="1"/>
          <p:nvPr/>
        </p:nvSpPr>
        <p:spPr>
          <a:xfrm>
            <a:off x="6989078" y="2405259"/>
            <a:ext cx="272929" cy="4387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592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:a16="http://schemas.microsoft.com/office/drawing/2014/main" xmlns="" id="{5581399F-60DC-C146-9774-D7BD814FB18C}"/>
              </a:ext>
            </a:extLst>
          </p:cNvPr>
          <p:cNvSpPr/>
          <p:nvPr/>
        </p:nvSpPr>
        <p:spPr>
          <a:xfrm flipH="1">
            <a:off x="6705523" y="6249278"/>
            <a:ext cx="2790981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074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:a16="http://schemas.microsoft.com/office/drawing/2014/main" xmlns="" id="{27D50CA8-0FE2-7645-830A-F4271EB0ED40}"/>
              </a:ext>
            </a:extLst>
          </p:cNvPr>
          <p:cNvSpPr/>
          <p:nvPr/>
        </p:nvSpPr>
        <p:spPr>
          <a:xfrm flipH="1">
            <a:off x="10134979" y="6249278"/>
            <a:ext cx="2790981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32927" tIns="32927" rIns="32927" bIns="32927" anchor="ctr"/>
          <a:lstStyle/>
          <a:p>
            <a:pPr algn="ctr" defTabSz="535047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074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:a16="http://schemas.microsoft.com/office/drawing/2014/main" xmlns="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09079" y="6561841"/>
            <a:ext cx="2790981" cy="995899"/>
          </a:xfrm>
          <a:prstGeom prst="rect">
            <a:avLst/>
          </a:prstGeom>
        </p:spPr>
        <p:txBody>
          <a:bodyPr/>
          <a:lstStyle>
            <a:lvl1pPr marL="222251" indent="-222251"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29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0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:a16="http://schemas.microsoft.com/office/drawing/2014/main" xmlns="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2030" y="6561841"/>
            <a:ext cx="2790981" cy="995899"/>
          </a:xfrm>
          <a:prstGeom prst="rect">
            <a:avLst/>
          </a:prstGeom>
        </p:spPr>
        <p:txBody>
          <a:bodyPr/>
          <a:lstStyle>
            <a:lvl1pPr marL="222251" indent="-222251"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129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0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:a16="http://schemas.microsoft.com/office/drawing/2014/main" xmlns="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34979" y="6561841"/>
            <a:ext cx="2790981" cy="995899"/>
          </a:xfrm>
          <a:prstGeom prst="rect">
            <a:avLst/>
          </a:prstGeom>
        </p:spPr>
        <p:txBody>
          <a:bodyPr/>
          <a:lstStyle>
            <a:lvl1pPr marL="222251" indent="-222251"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1297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Arial 10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xmlns="" id="{59F91A77-AAFB-8246-B037-70C0522296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4AF21556-34C8-4447-A99A-C7ABAA72FA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xmlns="" id="{EC8D00F7-06EB-B446-AC2E-F2E56521130D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3" name="Marcador de número de diapositiva 1">
            <a:extLst>
              <a:ext uri="{FF2B5EF4-FFF2-40B4-BE49-F238E27FC236}">
                <a16:creationId xmlns:a16="http://schemas.microsoft.com/office/drawing/2014/main" xmlns="" id="{77F1C36A-F6D1-9B48-A2F0-3BE8DF3720B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454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pos="1206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:a16="http://schemas.microsoft.com/office/drawing/2014/main" xmlns="" id="{A18F745A-2F94-7047-844D-CB79FE04F5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:a16="http://schemas.microsoft.com/office/drawing/2014/main" xmlns="" id="{42316AC7-064E-6646-A5F4-425D51B6A2C9}"/>
              </a:ext>
            </a:extLst>
          </p:cNvPr>
          <p:cNvSpPr/>
          <p:nvPr/>
        </p:nvSpPr>
        <p:spPr>
          <a:xfrm>
            <a:off x="572483" y="4500562"/>
            <a:ext cx="3635963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xmlns="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0146" y="6610485"/>
            <a:ext cx="290541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explicativo </a:t>
            </a:r>
          </a:p>
          <a:p>
            <a:pPr lvl="0"/>
            <a:r>
              <a:rPr lang="es-ES" dirty="0"/>
              <a:t>Arial Bold 11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xmlns="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0144" y="5181308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86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xmlns="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0145" y="5914822"/>
            <a:ext cx="1780139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:a16="http://schemas.microsoft.com/office/drawing/2014/main" xmlns="" id="{276E5EE1-B3E1-3F4B-83B9-25BBCDB7164A}"/>
              </a:ext>
            </a:extLst>
          </p:cNvPr>
          <p:cNvSpPr/>
          <p:nvPr/>
        </p:nvSpPr>
        <p:spPr>
          <a:xfrm>
            <a:off x="4365229" y="3421620"/>
            <a:ext cx="3635963" cy="5579507"/>
          </a:xfrm>
          <a:prstGeom prst="rect">
            <a:avLst/>
          </a:prstGeom>
          <a:solidFill>
            <a:schemeClr val="tx1"/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xmlns="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09878" y="5533080"/>
            <a:ext cx="290541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1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xmlns="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09876" y="4103903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86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xmlns="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09879" y="4837416"/>
            <a:ext cx="1780139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:a16="http://schemas.microsoft.com/office/drawing/2014/main" xmlns="" id="{34114B99-D22D-E64B-9FCB-2F541FEA6055}"/>
              </a:ext>
            </a:extLst>
          </p:cNvPr>
          <p:cNvSpPr/>
          <p:nvPr/>
        </p:nvSpPr>
        <p:spPr>
          <a:xfrm>
            <a:off x="8157976" y="4499024"/>
            <a:ext cx="3635963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xmlns="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1037" y="6610485"/>
            <a:ext cx="290541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1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xmlns="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21034" y="5181308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86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xmlns="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21036" y="5914822"/>
            <a:ext cx="1780139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:a16="http://schemas.microsoft.com/office/drawing/2014/main" xmlns="" id="{10682241-31DE-024D-A676-34E4EE3DCF6E}"/>
              </a:ext>
            </a:extLst>
          </p:cNvPr>
          <p:cNvSpPr/>
          <p:nvPr/>
        </p:nvSpPr>
        <p:spPr>
          <a:xfrm>
            <a:off x="11950723" y="4499024"/>
            <a:ext cx="3635963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xmlns="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276962" y="6610485"/>
            <a:ext cx="290541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1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xmlns="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276959" y="5181308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86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xmlns="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276961" y="5914822"/>
            <a:ext cx="1780139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xmlns="" id="{233E7B0C-2BF9-CF42-AE65-54B68360EE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xmlns="" id="{D37C3DF4-A9F4-DB48-AFB7-1ADAAE0123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xmlns="" id="{C85AF005-9E93-1C48-A207-37CC614AAD15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554204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8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:a16="http://schemas.microsoft.com/office/drawing/2014/main" xmlns="" id="{A18F745A-2F94-7047-844D-CB79FE04F5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:a16="http://schemas.microsoft.com/office/drawing/2014/main" xmlns="" id="{924593A7-BA3B-134F-B552-3C8E240BE639}"/>
              </a:ext>
            </a:extLst>
          </p:cNvPr>
          <p:cNvSpPr/>
          <p:nvPr/>
        </p:nvSpPr>
        <p:spPr>
          <a:xfrm>
            <a:off x="572482" y="3409803"/>
            <a:ext cx="3635963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xmlns="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8718" y="3767431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xmlns="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8720" y="4500946"/>
            <a:ext cx="3105376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r>
              <a:rPr lang="es-CL" dirty="0"/>
              <a:t>Texto explicativo</a:t>
            </a:r>
          </a:p>
          <a:p>
            <a:r>
              <a:rPr lang="es-CL" dirty="0"/>
              <a:t>Arial 11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8706" y="6368505"/>
            <a:ext cx="3105388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7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:a16="http://schemas.microsoft.com/office/drawing/2014/main" xmlns="" id="{47872927-EDEB-034D-AB0F-40AD76882404}"/>
              </a:ext>
            </a:extLst>
          </p:cNvPr>
          <p:cNvSpPr/>
          <p:nvPr/>
        </p:nvSpPr>
        <p:spPr>
          <a:xfrm>
            <a:off x="4365228" y="3409803"/>
            <a:ext cx="3635963" cy="5621537"/>
          </a:xfrm>
          <a:prstGeom prst="rect">
            <a:avLst/>
          </a:prstGeom>
          <a:solidFill>
            <a:schemeClr val="tx1"/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xmlns="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68450" y="3767431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xmlns="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8451" y="4500946"/>
            <a:ext cx="3105376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r>
              <a:rPr lang="es-CL" dirty="0"/>
              <a:t>Texto explicativo</a:t>
            </a:r>
          </a:p>
          <a:p>
            <a:r>
              <a:rPr lang="es-CL" dirty="0"/>
              <a:t>Arial 11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xmlns="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68438" y="6368505"/>
            <a:ext cx="3105388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74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:a16="http://schemas.microsoft.com/office/drawing/2014/main" xmlns="" id="{43BC13CA-7E2D-6E45-8712-486D874903DD}"/>
              </a:ext>
            </a:extLst>
          </p:cNvPr>
          <p:cNvSpPr/>
          <p:nvPr/>
        </p:nvSpPr>
        <p:spPr>
          <a:xfrm>
            <a:off x="8157974" y="3409803"/>
            <a:ext cx="3635963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xmlns="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79609" y="3767431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79609" y="4500946"/>
            <a:ext cx="3105376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r>
              <a:rPr lang="es-CL" dirty="0"/>
              <a:t>Texto explicativo</a:t>
            </a:r>
          </a:p>
          <a:p>
            <a:r>
              <a:rPr lang="es-CL" dirty="0"/>
              <a:t>Arial 11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xmlns="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479597" y="6368505"/>
            <a:ext cx="3105388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7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:a16="http://schemas.microsoft.com/office/drawing/2014/main" xmlns="" id="{8FB68190-D7E3-B141-817A-FAF1FE4B4632}"/>
              </a:ext>
            </a:extLst>
          </p:cNvPr>
          <p:cNvSpPr/>
          <p:nvPr/>
        </p:nvSpPr>
        <p:spPr>
          <a:xfrm>
            <a:off x="11950722" y="3409803"/>
            <a:ext cx="3635963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2927" tIns="32927" rIns="32927" bIns="32927" anchor="ctr"/>
          <a:lstStyle/>
          <a:p>
            <a:pPr algn="ctr" defTabSz="1184307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667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35533" y="3767431"/>
            <a:ext cx="1670834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xmlns="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235534" y="4500946"/>
            <a:ext cx="3105376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78"/>
              </a:spcBef>
              <a:spcAft>
                <a:spcPts val="778"/>
              </a:spcAft>
              <a:buNone/>
              <a:defRPr sz="1427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r>
              <a:rPr lang="es-CL" dirty="0"/>
              <a:t>Texto explicativo</a:t>
            </a:r>
          </a:p>
          <a:p>
            <a:r>
              <a:rPr lang="es-CL" dirty="0"/>
              <a:t>Arial 11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xmlns="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2235522" y="6368505"/>
            <a:ext cx="3105388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7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49DD61A3-4460-0E4F-AE29-66DB80A74B7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9499727C-9474-DC4D-A7CF-4C679E3E62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xmlns="" id="{8955A6C1-FBA1-4448-AD21-F5BAF615E907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387633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7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C6F6EF54-31B0-E446-AA5A-A0BC24DEC5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2" y="2086"/>
          <a:ext cx="2109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2086"/>
                        <a:ext cx="2109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91700" y="2139049"/>
            <a:ext cx="9773216" cy="60975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xmlns="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98625" y="2139051"/>
            <a:ext cx="4782764" cy="2934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92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xmlns="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98625" y="5302324"/>
            <a:ext cx="4782764" cy="2934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92" b="0" i="0"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AFCEC942-1AE9-A54D-A613-F2A385D8D3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35BD8E19-9D05-214B-8930-B30D6E030D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EC1103B2-DBD8-8D43-88A1-B0AABE797C7B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xmlns="" id="{FAE1C488-28F1-BC4A-B3BE-EB1F805AEA0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133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34554" y="2756596"/>
            <a:ext cx="12784411" cy="7796808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89000" y="2756596"/>
            <a:ext cx="12784409" cy="7796808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5-03-2024</a:t>
            </a:fld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970078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0567" y="833438"/>
            <a:ext cx="9415318" cy="73780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xmlns="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488070" y="833437"/>
            <a:ext cx="5101106" cy="3550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xmlns="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488070" y="4661000"/>
            <a:ext cx="5101106" cy="3550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xmlns="" id="{3BA05981-6B56-E54C-96D4-EC7E4C86AE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65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6202025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34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11" b="1" i="0">
                <a:solidFill>
                  <a:schemeClr val="bg1"/>
                </a:solidFill>
                <a:highlight>
                  <a:srgbClr val="008000"/>
                </a:highlight>
                <a:latin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 </a:t>
            </a:r>
            <a:endParaRPr lang="es-CL" dirty="0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xmlns="" id="{FC5BAB54-FEEB-5440-A0A2-776A5D9CA13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875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ámin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xmlns="" id="{3C0247E7-4182-5B4E-8717-D135BE50D6E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0392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Verde Achs_s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54053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Verde Achs2_sin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65096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erde Achs2_sin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:a16="http://schemas.microsoft.com/office/drawing/2014/main" xmlns="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>
              <a:defRPr sz="11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>
              <a:solidFill>
                <a:srgbClr val="FFFFFF"/>
              </a:solidFill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389"/>
              </a:spcBef>
              <a:spcAft>
                <a:spcPts val="389"/>
              </a:spcAft>
              <a:buNone/>
              <a:defRPr sz="3111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389"/>
              </a:spcBef>
              <a:spcAft>
                <a:spcPts val="389"/>
              </a:spcAft>
              <a:buNone/>
              <a:defRPr sz="2334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xmlns="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1376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Verde Achs2_sin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:a16="http://schemas.microsoft.com/office/drawing/2014/main" xmlns="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>
              <a:defRPr sz="11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>
              <a:solidFill>
                <a:srgbClr val="FFFFFF"/>
              </a:solidFill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F2E500"/>
                </a:solidFill>
              </a:rPr>
              <a:pPr/>
              <a:t>‹Nº›</a:t>
            </a:fld>
            <a:endParaRPr lang="es-CL">
              <a:solidFill>
                <a:srgbClr val="F2E5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111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334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xmlns="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xmlns="" id="{B1B8B29D-B62C-374F-BB05-2C31E0897B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013" y="2127352"/>
            <a:ext cx="7493438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707493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Verde Achs2_sin logo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:a16="http://schemas.microsoft.com/office/drawing/2014/main" xmlns="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>
              <a:defRPr sz="1167">
                <a:solidFill>
                  <a:srgbClr val="004D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8" y="591742"/>
            <a:ext cx="9529239" cy="5419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111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8" y="1131775"/>
            <a:ext cx="9529239" cy="467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334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xmlns="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rgbClr val="004D53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8" name="Marcador de texto 2">
            <a:extLst>
              <a:ext uri="{FF2B5EF4-FFF2-40B4-BE49-F238E27FC236}">
                <a16:creationId xmlns:a16="http://schemas.microsoft.com/office/drawing/2014/main" xmlns="" id="{1A299CBF-BF7E-9C40-BB30-37728C3329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013" y="2127352"/>
            <a:ext cx="7493438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807694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Verde Achs2_sin logo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:a16="http://schemas.microsoft.com/office/drawing/2014/main" xmlns="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 algn="l">
              <a:defRPr sz="1167">
                <a:solidFill>
                  <a:srgbClr val="004D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9" y="591742"/>
            <a:ext cx="11739405" cy="60840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1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9" y="1131775"/>
            <a:ext cx="11739405" cy="550788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363" b="0">
                <a:solidFill>
                  <a:srgbClr val="00444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xmlns="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rgbClr val="004D53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8" name="Marcador de texto 2">
            <a:extLst>
              <a:ext uri="{FF2B5EF4-FFF2-40B4-BE49-F238E27FC236}">
                <a16:creationId xmlns:a16="http://schemas.microsoft.com/office/drawing/2014/main" xmlns="" id="{1A299CBF-BF7E-9C40-BB30-37728C3329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8230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  <p:sp>
        <p:nvSpPr>
          <p:cNvPr id="9" name="Marcador de texto 2">
            <a:extLst>
              <a:ext uri="{FF2B5EF4-FFF2-40B4-BE49-F238E27FC236}">
                <a16:creationId xmlns:a16="http://schemas.microsoft.com/office/drawing/2014/main" xmlns="" id="{0B721D1D-B7F0-734E-B1E8-8F3FE0C1E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8771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rgbClr val="5F5F5F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235781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Verde Achs2_sin logo">
    <p:bg>
      <p:bgPr>
        <a:solidFill>
          <a:schemeClr val="tx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:a16="http://schemas.microsoft.com/office/drawing/2014/main" xmlns="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 algn="l">
              <a:defRPr sz="11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>
              <a:solidFill>
                <a:srgbClr val="FFFFFF"/>
              </a:solidFill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>
              <a:solidFill>
                <a:srgbClr val="FFFFFF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9" y="591742"/>
            <a:ext cx="11739405" cy="5419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111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9" y="1131775"/>
            <a:ext cx="11739405" cy="467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334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8" name="Marcador de texto 2">
            <a:extLst>
              <a:ext uri="{FF2B5EF4-FFF2-40B4-BE49-F238E27FC236}">
                <a16:creationId xmlns:a16="http://schemas.microsoft.com/office/drawing/2014/main" xmlns="" id="{1A299CBF-BF7E-9C40-BB30-37728C3329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8230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  <p:sp>
        <p:nvSpPr>
          <p:cNvPr id="9" name="Marcador de texto 2">
            <a:extLst>
              <a:ext uri="{FF2B5EF4-FFF2-40B4-BE49-F238E27FC236}">
                <a16:creationId xmlns:a16="http://schemas.microsoft.com/office/drawing/2014/main" xmlns="" id="{0B721D1D-B7F0-734E-B1E8-8F3FE0C1E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8771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xmlns="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176515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101" y="360462"/>
            <a:ext cx="14581823" cy="1500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0101" y="2014836"/>
            <a:ext cx="7158708" cy="839688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0090" indent="0">
              <a:buNone/>
              <a:defRPr sz="3200" b="1"/>
            </a:lvl2pPr>
            <a:lvl3pPr marL="1440180" indent="0">
              <a:buNone/>
              <a:defRPr sz="2800" b="1"/>
            </a:lvl3pPr>
            <a:lvl4pPr marL="2160270" indent="0">
              <a:buNone/>
              <a:defRPr sz="2500" b="1"/>
            </a:lvl4pPr>
            <a:lvl5pPr marL="2880360" indent="0">
              <a:buNone/>
              <a:defRPr sz="2500" b="1"/>
            </a:lvl5pPr>
            <a:lvl6pPr marL="3600450" indent="0">
              <a:buNone/>
              <a:defRPr sz="2500" b="1"/>
            </a:lvl6pPr>
            <a:lvl7pPr marL="4320540" indent="0">
              <a:buNone/>
              <a:defRPr sz="2500" b="1"/>
            </a:lvl7pPr>
            <a:lvl8pPr marL="5040630" indent="0">
              <a:buNone/>
              <a:defRPr sz="2500" b="1"/>
            </a:lvl8pPr>
            <a:lvl9pPr marL="5760720" indent="0">
              <a:buNone/>
              <a:defRPr sz="2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0101" y="2854523"/>
            <a:ext cx="7158708" cy="5186066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230405" y="2014836"/>
            <a:ext cx="7161520" cy="839688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0090" indent="0">
              <a:buNone/>
              <a:defRPr sz="3200" b="1"/>
            </a:lvl2pPr>
            <a:lvl3pPr marL="1440180" indent="0">
              <a:buNone/>
              <a:defRPr sz="2800" b="1"/>
            </a:lvl3pPr>
            <a:lvl4pPr marL="2160270" indent="0">
              <a:buNone/>
              <a:defRPr sz="2500" b="1"/>
            </a:lvl4pPr>
            <a:lvl5pPr marL="2880360" indent="0">
              <a:buNone/>
              <a:defRPr sz="2500" b="1"/>
            </a:lvl5pPr>
            <a:lvl6pPr marL="3600450" indent="0">
              <a:buNone/>
              <a:defRPr sz="2500" b="1"/>
            </a:lvl6pPr>
            <a:lvl7pPr marL="4320540" indent="0">
              <a:buNone/>
              <a:defRPr sz="2500" b="1"/>
            </a:lvl7pPr>
            <a:lvl8pPr marL="5040630" indent="0">
              <a:buNone/>
              <a:defRPr sz="2500" b="1"/>
            </a:lvl8pPr>
            <a:lvl9pPr marL="5760720" indent="0">
              <a:buNone/>
              <a:defRPr sz="2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230405" y="2854523"/>
            <a:ext cx="7161520" cy="5186066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5-03-2024</a:t>
            </a:fld>
            <a:endParaRPr lang="es-C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277246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Verde Achs2_sin logo">
    <p:bg>
      <p:bgPr>
        <a:solidFill>
          <a:schemeClr val="accent4"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:a16="http://schemas.microsoft.com/office/drawing/2014/main" xmlns="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 algn="l">
              <a:defRPr sz="1167">
                <a:solidFill>
                  <a:srgbClr val="00444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rgbClr val="00444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9" y="591741"/>
            <a:ext cx="11739405" cy="6875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150" b="1">
                <a:solidFill>
                  <a:srgbClr val="00444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9" y="1120169"/>
            <a:ext cx="11739405" cy="65439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363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xmlns="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rgbClr val="00444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8" name="Marcador de texto 2">
            <a:extLst>
              <a:ext uri="{FF2B5EF4-FFF2-40B4-BE49-F238E27FC236}">
                <a16:creationId xmlns:a16="http://schemas.microsoft.com/office/drawing/2014/main" xmlns="" id="{1A299CBF-BF7E-9C40-BB30-37728C3329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8230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2100" b="0" i="0">
                <a:solidFill>
                  <a:srgbClr val="00444F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rgbClr val="00444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00444F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00444F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rgbClr val="00444F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6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  <p:sp>
        <p:nvSpPr>
          <p:cNvPr id="9" name="Marcador de texto 2">
            <a:extLst>
              <a:ext uri="{FF2B5EF4-FFF2-40B4-BE49-F238E27FC236}">
                <a16:creationId xmlns:a16="http://schemas.microsoft.com/office/drawing/2014/main" xmlns="" id="{0B721D1D-B7F0-734E-B1E8-8F3FE0C1E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8771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2100" b="0" i="0">
                <a:solidFill>
                  <a:srgbClr val="00444F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rgbClr val="00444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00444F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rgbClr val="00444F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rgbClr val="00444F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6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152129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Verde Achs2_sin logo">
    <p:bg>
      <p:bgPr>
        <a:solidFill>
          <a:schemeClr val="accent4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:a16="http://schemas.microsoft.com/office/drawing/2014/main" xmlns="" id="{B84DB78E-B884-3E48-915E-C5765A8E5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029" y="8485692"/>
            <a:ext cx="9033335" cy="479227"/>
          </a:xfrm>
          <a:prstGeom prst="rect">
            <a:avLst/>
          </a:prstGeom>
        </p:spPr>
        <p:txBody>
          <a:bodyPr anchor="t"/>
          <a:lstStyle>
            <a:lvl1pPr algn="l">
              <a:defRPr sz="11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>
              <a:solidFill>
                <a:srgbClr val="0C662F"/>
              </a:solidFill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EDDDFC07-DD8C-7342-A814-425AA05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0C662F"/>
                </a:solidFill>
              </a:rPr>
              <a:pPr/>
              <a:t>‹Nº›</a:t>
            </a:fld>
            <a:endParaRPr lang="es-CL">
              <a:solidFill>
                <a:srgbClr val="0C662F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3C264635-3521-4B42-ABE7-E1B51E090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7029" y="591742"/>
            <a:ext cx="11739405" cy="5419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111" b="1">
                <a:solidFill>
                  <a:srgbClr val="00454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6C7C5B58-FE52-D646-8F45-D4D7894EA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7029" y="1131775"/>
            <a:ext cx="11739405" cy="4676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334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112" indent="0">
              <a:buNone/>
              <a:defRPr/>
            </a:lvl2pPr>
            <a:lvl3pPr marL="790223" indent="0">
              <a:buNone/>
              <a:defRPr/>
            </a:lvl3pPr>
            <a:lvl4pPr marL="1185336" indent="0">
              <a:buNone/>
              <a:defRPr/>
            </a:lvl4pPr>
            <a:lvl5pPr marL="1580448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xmlns="" id="{10BA23C3-EC8E-4742-B2AB-1D1BC21F7B28}"/>
              </a:ext>
            </a:extLst>
          </p:cNvPr>
          <p:cNvCxnSpPr>
            <a:cxnSpLocks/>
          </p:cNvCxnSpPr>
          <p:nvPr/>
        </p:nvCxnSpPr>
        <p:spPr>
          <a:xfrm>
            <a:off x="739560" y="1632116"/>
            <a:ext cx="1435219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11FA269D-9EDF-6148-B584-6D89468117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8367" y="593828"/>
            <a:ext cx="696181" cy="687586"/>
          </a:xfrm>
          <a:prstGeom prst="rect">
            <a:avLst/>
          </a:prstGeom>
        </p:spPr>
      </p:pic>
      <p:sp>
        <p:nvSpPr>
          <p:cNvPr id="8" name="Marcador de texto 2">
            <a:extLst>
              <a:ext uri="{FF2B5EF4-FFF2-40B4-BE49-F238E27FC236}">
                <a16:creationId xmlns:a16="http://schemas.microsoft.com/office/drawing/2014/main" xmlns="" id="{1A299CBF-BF7E-9C40-BB30-37728C3329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8230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  <p:sp>
        <p:nvSpPr>
          <p:cNvPr id="9" name="Marcador de texto 2">
            <a:extLst>
              <a:ext uri="{FF2B5EF4-FFF2-40B4-BE49-F238E27FC236}">
                <a16:creationId xmlns:a16="http://schemas.microsoft.com/office/drawing/2014/main" xmlns="" id="{0B721D1D-B7F0-734E-B1E8-8F3FE0C1E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8771" y="2127352"/>
            <a:ext cx="7339342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Tx/>
              <a:buNone/>
              <a:defRPr sz="1815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76654" indent="-48154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27" b="0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35561" indent="-432154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739934" indent="-431126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2088" indent="-472283">
              <a:lnSpc>
                <a:spcPct val="100000"/>
              </a:lnSpc>
              <a:spcBef>
                <a:spcPts val="518"/>
              </a:spcBef>
              <a:spcAft>
                <a:spcPts val="518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>
                <a:tab pos="2037295" algn="l"/>
              </a:tabLst>
              <a:defRPr sz="1427" b="0" i="0">
                <a:solidFill>
                  <a:schemeClr val="tx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ólo texto Arial 14</a:t>
            </a:r>
          </a:p>
          <a:p>
            <a:pPr lvl="1"/>
            <a:r>
              <a:rPr lang="es-ES" dirty="0"/>
              <a:t>Segundo nivel Arial 11</a:t>
            </a:r>
          </a:p>
          <a:p>
            <a:pPr lvl="2"/>
            <a:r>
              <a:rPr lang="es-ES" dirty="0"/>
              <a:t>Tercer nivel Arial 11</a:t>
            </a:r>
          </a:p>
          <a:p>
            <a:pPr lvl="3"/>
            <a:r>
              <a:rPr lang="es-ES" dirty="0"/>
              <a:t>Cuarto nivel Arial 11</a:t>
            </a:r>
          </a:p>
          <a:p>
            <a:pPr lvl="4"/>
            <a:r>
              <a:rPr lang="es-ES" dirty="0"/>
              <a:t>Quinto nivel Arial 11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652898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Gris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64374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6202025" cy="9001125"/>
          </a:xfrm>
          <a:custGeom>
            <a:avLst/>
            <a:gdLst>
              <a:gd name="connsiteX0" fmla="*/ 0 w 5770605"/>
              <a:gd name="connsiteY0" fmla="*/ 0 h 6858000"/>
              <a:gd name="connsiteX1" fmla="*/ 5770605 w 5770605"/>
              <a:gd name="connsiteY1" fmla="*/ 0 h 6858000"/>
              <a:gd name="connsiteX2" fmla="*/ 5770605 w 5770605"/>
              <a:gd name="connsiteY2" fmla="*/ 6858000 h 6858000"/>
              <a:gd name="connsiteX3" fmla="*/ 0 w 577060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605" h="6858000">
                <a:moveTo>
                  <a:pt x="0" y="0"/>
                </a:moveTo>
                <a:lnTo>
                  <a:pt x="5770605" y="0"/>
                </a:lnTo>
                <a:lnTo>
                  <a:pt x="577060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555" b="0" i="0">
                <a:latin typeface="Arial" panose="020B0604020202020204" pitchFamily="34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13889" y="8342714"/>
            <a:ext cx="3645456" cy="47922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fld id="{E51760D5-0A4F-46CB-966E-D7A789D304D4}" type="datetimeFigureOut">
              <a:rPr lang="es-CL" smtClean="0">
                <a:solidFill>
                  <a:srgbClr val="0C662F">
                    <a:tint val="75000"/>
                  </a:srgbClr>
                </a:solidFill>
              </a:rPr>
              <a:pPr/>
              <a:t>25-03-2024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66921" y="8342714"/>
            <a:ext cx="5468183" cy="47922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1888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3EA3E24-6F21-4D20-B848-6E605E20AC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25253" y="1473101"/>
            <a:ext cx="12151519" cy="3133725"/>
          </a:xfrm>
          <a:prstGeom prst="rect">
            <a:avLst/>
          </a:prstGeom>
        </p:spPr>
        <p:txBody>
          <a:bodyPr anchor="b"/>
          <a:lstStyle>
            <a:lvl1pPr algn="ctr">
              <a:defRPr sz="7778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6FDE8D6F-A942-427F-ACA0-B849618B40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25253" y="4727675"/>
            <a:ext cx="12151519" cy="21731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111" b="0" i="0">
                <a:latin typeface="Arial" panose="020B0604020202020204" pitchFamily="34" charset="0"/>
              </a:defRPr>
            </a:lvl1pPr>
            <a:lvl2pPr marL="592667" indent="0" algn="ctr">
              <a:buNone/>
              <a:defRPr sz="2592"/>
            </a:lvl2pPr>
            <a:lvl3pPr marL="1185336" indent="0" algn="ctr">
              <a:buNone/>
              <a:defRPr sz="2334"/>
            </a:lvl3pPr>
            <a:lvl4pPr marL="1778003" indent="0" algn="ctr">
              <a:buNone/>
              <a:defRPr sz="2074"/>
            </a:lvl4pPr>
            <a:lvl5pPr marL="2370672" indent="0" algn="ctr">
              <a:buNone/>
              <a:defRPr sz="2074"/>
            </a:lvl5pPr>
            <a:lvl6pPr marL="2963339" indent="0" algn="ctr">
              <a:buNone/>
              <a:defRPr sz="2074"/>
            </a:lvl6pPr>
            <a:lvl7pPr marL="3556007" indent="0" algn="ctr">
              <a:buNone/>
              <a:defRPr sz="2074"/>
            </a:lvl7pPr>
            <a:lvl8pPr marL="4148675" indent="0" algn="ctr">
              <a:buNone/>
              <a:defRPr sz="2074"/>
            </a:lvl8pPr>
            <a:lvl9pPr marL="4741343" indent="0" algn="ctr">
              <a:buNone/>
              <a:defRPr sz="2074"/>
            </a:lvl9pPr>
          </a:lstStyle>
          <a:p>
            <a:r>
              <a:rPr lang="es-ES"/>
              <a:t>Haga clic para modificar el estilo de subtítulo del patrón</a:t>
            </a:r>
            <a:endParaRPr lang="es-CL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3DBBB66-A7F8-4D2C-865B-C01D1BD0B9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3889" y="8342711"/>
            <a:ext cx="3645456" cy="47922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fld id="{E51760D5-0A4F-46CB-966E-D7A789D304D4}" type="datetimeFigureOut">
              <a:rPr lang="es-CL" smtClean="0">
                <a:solidFill>
                  <a:srgbClr val="0C662F">
                    <a:tint val="75000"/>
                  </a:srgbClr>
                </a:solidFill>
              </a:rPr>
              <a:pPr/>
              <a:t>25-03-2024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75FCA14-DF25-4509-8F1C-9F4B99B0A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66921" y="8342711"/>
            <a:ext cx="5468183" cy="47922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CD172509-CD18-4A2B-B481-18F6041AD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262483" y="8483676"/>
            <a:ext cx="2450721" cy="47922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s-CL"/>
            </a:defPPr>
            <a:lvl1pPr marL="0" algn="r" defTabSz="1185336" rtl="0" eaLnBrk="1" latinLnBrk="0" hangingPunct="1">
              <a:defRPr sz="1167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9266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5336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0672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3339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007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48675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41343" algn="l" defTabSz="1185336" rtl="0" eaLnBrk="1" latinLnBrk="0" hangingPunct="1">
              <a:defRPr sz="23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3CCA99-CF64-451F-A9BB-06365FA9480C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7631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16412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6BEBF2C1-2B32-4C6A-A69D-80D695DA7C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760D5-0A4F-46CB-966E-D7A789D304D4}" type="datetimeFigureOut">
              <a:rPr lang="es-CL" smtClean="0">
                <a:solidFill>
                  <a:srgbClr val="0C662F">
                    <a:tint val="75000"/>
                  </a:srgbClr>
                </a:solidFill>
              </a:rPr>
              <a:pPr/>
              <a:t>25-03-2024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D5F9BE01-A54C-45B7-8C3F-DD70593093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A4142BCC-61D0-4D08-A9D0-E62317B88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CA99-CF64-451F-A9BB-06365FA9480C}" type="slidenum">
              <a:rPr lang="es-CL" smtClean="0">
                <a:solidFill>
                  <a:srgbClr val="0C662F">
                    <a:tint val="75000"/>
                  </a:srgbClr>
                </a:solidFill>
              </a:rPr>
              <a:pPr/>
              <a:t>‹Nº›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1828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22F7C922-2B35-488C-90C3-78D02206D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722033A6-C6C2-40D6-AAB1-5B9FB01C4A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A108EC1-DB56-4789-89D8-F63AFC525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760D5-0A4F-46CB-966E-D7A789D304D4}" type="datetimeFigureOut">
              <a:rPr lang="es-CL" smtClean="0">
                <a:solidFill>
                  <a:srgbClr val="0C662F">
                    <a:tint val="75000"/>
                  </a:srgbClr>
                </a:solidFill>
              </a:rPr>
              <a:pPr/>
              <a:t>25-03-2024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B5A8A96D-0DB6-4B62-A310-6A525D782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0AF4B7E-8BF3-43F2-8130-2B50445CA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CA99-CF64-451F-A9BB-06365FA9480C}" type="slidenum">
              <a:rPr lang="es-CL" smtClean="0">
                <a:solidFill>
                  <a:srgbClr val="0C662F">
                    <a:tint val="75000"/>
                  </a:srgbClr>
                </a:solidFill>
              </a:rPr>
              <a:pPr/>
              <a:t>‹Nº›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3245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59E97F7F-8F39-4088-8781-69FEAB78D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205820" y="514364"/>
            <a:ext cx="878521" cy="479227"/>
          </a:xfrm>
          <a:prstGeom prst="rect">
            <a:avLst/>
          </a:prstGeom>
        </p:spPr>
        <p:txBody>
          <a:bodyPr/>
          <a:lstStyle/>
          <a:p>
            <a:fld id="{2792224D-FD33-4836-BBD8-A8F18D809236}" type="slidenum">
              <a:rPr lang="en-US" smtClean="0">
                <a:solidFill>
                  <a:srgbClr val="0C662F">
                    <a:tint val="75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xmlns="" id="{389A5E46-8D5D-474E-B97E-9CC2AA5550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515296" y="4"/>
            <a:ext cx="5686730" cy="9001124"/>
          </a:xfrm>
          <a:custGeom>
            <a:avLst/>
            <a:gdLst>
              <a:gd name="connsiteX0" fmla="*/ 1534407 w 4279256"/>
              <a:gd name="connsiteY0" fmla="*/ 0 h 6857999"/>
              <a:gd name="connsiteX1" fmla="*/ 4279256 w 4279256"/>
              <a:gd name="connsiteY1" fmla="*/ 0 h 6857999"/>
              <a:gd name="connsiteX2" fmla="*/ 4279255 w 4279256"/>
              <a:gd name="connsiteY2" fmla="*/ 6857999 h 6857999"/>
              <a:gd name="connsiteX3" fmla="*/ 1534406 w 4279256"/>
              <a:gd name="connsiteY3" fmla="*/ 6857999 h 6857999"/>
              <a:gd name="connsiteX4" fmla="*/ 1507287 w 4279256"/>
              <a:gd name="connsiteY4" fmla="*/ 6834508 h 6857999"/>
              <a:gd name="connsiteX5" fmla="*/ 0 w 4279256"/>
              <a:gd name="connsiteY5" fmla="*/ 3429000 h 6857999"/>
              <a:gd name="connsiteX6" fmla="*/ 1507287 w 4279256"/>
              <a:gd name="connsiteY6" fmla="*/ 2349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9256" h="6857999">
                <a:moveTo>
                  <a:pt x="1534407" y="0"/>
                </a:moveTo>
                <a:lnTo>
                  <a:pt x="4279256" y="0"/>
                </a:lnTo>
                <a:lnTo>
                  <a:pt x="4279255" y="6857999"/>
                </a:lnTo>
                <a:lnTo>
                  <a:pt x="1534406" y="6857999"/>
                </a:lnTo>
                <a:lnTo>
                  <a:pt x="1507287" y="6834508"/>
                </a:lnTo>
                <a:cubicBezTo>
                  <a:pt x="581329" y="5992915"/>
                  <a:pt x="0" y="4778846"/>
                  <a:pt x="0" y="3429000"/>
                </a:cubicBezTo>
                <a:cubicBezTo>
                  <a:pt x="0" y="2079154"/>
                  <a:pt x="581329" y="865084"/>
                  <a:pt x="1507287" y="2349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575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92667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59E97F7F-8F39-4088-8781-69FEAB78D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311509" y="514364"/>
            <a:ext cx="667143" cy="479227"/>
          </a:xfrm>
          <a:prstGeom prst="rect">
            <a:avLst/>
          </a:prstGeom>
        </p:spPr>
        <p:txBody>
          <a:bodyPr/>
          <a:lstStyle/>
          <a:p>
            <a:fld id="{2792224D-FD33-4836-BBD8-A8F18D809236}" type="slidenum">
              <a:rPr lang="en-US" smtClean="0">
                <a:solidFill>
                  <a:srgbClr val="0C662F">
                    <a:tint val="75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70B173A-72FB-4A32-A457-F6EB4C5DDF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6202025" cy="90011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575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0925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5-03-2024</a:t>
            </a:fld>
            <a:endParaRPr lang="es-C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269436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25253" y="1473101"/>
            <a:ext cx="12151519" cy="3133725"/>
          </a:xfrm>
        </p:spPr>
        <p:txBody>
          <a:bodyPr anchor="b"/>
          <a:lstStyle>
            <a:lvl1pPr algn="ctr">
              <a:defRPr sz="7875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25253" y="4727675"/>
            <a:ext cx="12151519" cy="2173188"/>
          </a:xfrm>
        </p:spPr>
        <p:txBody>
          <a:bodyPr/>
          <a:lstStyle>
            <a:lvl1pPr marL="0" indent="0" algn="ctr">
              <a:buNone/>
              <a:defRPr sz="3150"/>
            </a:lvl1pPr>
            <a:lvl2pPr marL="600075" indent="0" algn="ctr">
              <a:buNone/>
              <a:defRPr sz="2625"/>
            </a:lvl2pPr>
            <a:lvl3pPr marL="1200150" indent="0" algn="ctr">
              <a:buNone/>
              <a:defRPr sz="2363"/>
            </a:lvl3pPr>
            <a:lvl4pPr marL="1800225" indent="0" algn="ctr">
              <a:buNone/>
              <a:defRPr sz="2100"/>
            </a:lvl4pPr>
            <a:lvl5pPr marL="2400300" indent="0" algn="ctr">
              <a:buNone/>
              <a:defRPr sz="2100"/>
            </a:lvl5pPr>
            <a:lvl6pPr marL="3000375" indent="0" algn="ctr">
              <a:buNone/>
              <a:defRPr sz="2100"/>
            </a:lvl6pPr>
            <a:lvl7pPr marL="3600450" indent="0" algn="ctr">
              <a:buNone/>
              <a:defRPr sz="2100"/>
            </a:lvl7pPr>
            <a:lvl8pPr marL="4200525" indent="0" algn="ctr">
              <a:buNone/>
              <a:defRPr sz="2100"/>
            </a:lvl8pPr>
            <a:lvl9pPr marL="4800600" indent="0" algn="ctr">
              <a:buNone/>
              <a:defRPr sz="21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5-03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6715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5-03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10971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5450" y="2244032"/>
            <a:ext cx="13974247" cy="3744217"/>
          </a:xfrm>
        </p:spPr>
        <p:txBody>
          <a:bodyPr anchor="b"/>
          <a:lstStyle>
            <a:lvl1pPr>
              <a:defRPr sz="7875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5450" y="6023671"/>
            <a:ext cx="13974247" cy="1968995"/>
          </a:xfrm>
        </p:spPr>
        <p:txBody>
          <a:bodyPr/>
          <a:lstStyle>
            <a:lvl1pPr marL="0" indent="0">
              <a:buNone/>
              <a:defRPr sz="3150">
                <a:solidFill>
                  <a:schemeClr val="tx1">
                    <a:tint val="75000"/>
                  </a:schemeClr>
                </a:solidFill>
              </a:defRPr>
            </a:lvl1pPr>
            <a:lvl2pPr marL="600075" indent="0">
              <a:buNone/>
              <a:defRPr sz="2625">
                <a:solidFill>
                  <a:schemeClr val="tx1">
                    <a:tint val="75000"/>
                  </a:schemeClr>
                </a:solidFill>
              </a:defRPr>
            </a:lvl2pPr>
            <a:lvl3pPr marL="1200150" indent="0">
              <a:buNone/>
              <a:defRPr sz="2363">
                <a:solidFill>
                  <a:schemeClr val="tx1">
                    <a:tint val="75000"/>
                  </a:schemeClr>
                </a:solidFill>
              </a:defRPr>
            </a:lvl3pPr>
            <a:lvl4pPr marL="18002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4003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00037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360045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2005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5-03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36096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13889" y="2396133"/>
            <a:ext cx="6885861" cy="5711131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02275" y="2396133"/>
            <a:ext cx="6885861" cy="5711131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5-03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3610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999" y="479227"/>
            <a:ext cx="13974247" cy="17398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6000" y="2206526"/>
            <a:ext cx="6854215" cy="1081385"/>
          </a:xfrm>
        </p:spPr>
        <p:txBody>
          <a:bodyPr anchor="b"/>
          <a:lstStyle>
            <a:lvl1pPr marL="0" indent="0">
              <a:buNone/>
              <a:defRPr sz="3150" b="1"/>
            </a:lvl1pPr>
            <a:lvl2pPr marL="600075" indent="0">
              <a:buNone/>
              <a:defRPr sz="2625" b="1"/>
            </a:lvl2pPr>
            <a:lvl3pPr marL="1200150" indent="0">
              <a:buNone/>
              <a:defRPr sz="2363" b="1"/>
            </a:lvl3pPr>
            <a:lvl4pPr marL="1800225" indent="0">
              <a:buNone/>
              <a:defRPr sz="2100" b="1"/>
            </a:lvl4pPr>
            <a:lvl5pPr marL="2400300" indent="0">
              <a:buNone/>
              <a:defRPr sz="2100" b="1"/>
            </a:lvl5pPr>
            <a:lvl6pPr marL="3000375" indent="0">
              <a:buNone/>
              <a:defRPr sz="2100" b="1"/>
            </a:lvl6pPr>
            <a:lvl7pPr marL="3600450" indent="0">
              <a:buNone/>
              <a:defRPr sz="2100" b="1"/>
            </a:lvl7pPr>
            <a:lvl8pPr marL="4200525" indent="0">
              <a:buNone/>
              <a:defRPr sz="2100" b="1"/>
            </a:lvl8pPr>
            <a:lvl9pPr marL="4800600" indent="0">
              <a:buNone/>
              <a:defRPr sz="21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6000" y="3287911"/>
            <a:ext cx="6854215" cy="4836022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202275" y="2206526"/>
            <a:ext cx="6887971" cy="1081385"/>
          </a:xfrm>
        </p:spPr>
        <p:txBody>
          <a:bodyPr anchor="b"/>
          <a:lstStyle>
            <a:lvl1pPr marL="0" indent="0">
              <a:buNone/>
              <a:defRPr sz="3150" b="1"/>
            </a:lvl1pPr>
            <a:lvl2pPr marL="600075" indent="0">
              <a:buNone/>
              <a:defRPr sz="2625" b="1"/>
            </a:lvl2pPr>
            <a:lvl3pPr marL="1200150" indent="0">
              <a:buNone/>
              <a:defRPr sz="2363" b="1"/>
            </a:lvl3pPr>
            <a:lvl4pPr marL="1800225" indent="0">
              <a:buNone/>
              <a:defRPr sz="2100" b="1"/>
            </a:lvl4pPr>
            <a:lvl5pPr marL="2400300" indent="0">
              <a:buNone/>
              <a:defRPr sz="2100" b="1"/>
            </a:lvl5pPr>
            <a:lvl6pPr marL="3000375" indent="0">
              <a:buNone/>
              <a:defRPr sz="2100" b="1"/>
            </a:lvl6pPr>
            <a:lvl7pPr marL="3600450" indent="0">
              <a:buNone/>
              <a:defRPr sz="2100" b="1"/>
            </a:lvl7pPr>
            <a:lvl8pPr marL="4200525" indent="0">
              <a:buNone/>
              <a:defRPr sz="2100" b="1"/>
            </a:lvl8pPr>
            <a:lvl9pPr marL="4800600" indent="0">
              <a:buNone/>
              <a:defRPr sz="21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202275" y="3287911"/>
            <a:ext cx="6887971" cy="4836022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5-03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7731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5-03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4317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5-03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5153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6000" y="600075"/>
            <a:ext cx="5225574" cy="2100263"/>
          </a:xfrm>
        </p:spPr>
        <p:txBody>
          <a:bodyPr anchor="b"/>
          <a:lstStyle>
            <a:lvl1pPr>
              <a:defRPr sz="4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87971" y="1295996"/>
            <a:ext cx="8202275" cy="6396633"/>
          </a:xfrm>
        </p:spPr>
        <p:txBody>
          <a:bodyPr/>
          <a:lstStyle>
            <a:lvl1pPr>
              <a:defRPr sz="4200"/>
            </a:lvl1pPr>
            <a:lvl2pPr>
              <a:defRPr sz="3675"/>
            </a:lvl2pPr>
            <a:lvl3pPr>
              <a:defRPr sz="3150"/>
            </a:lvl3pPr>
            <a:lvl4pPr>
              <a:defRPr sz="2625"/>
            </a:lvl4pPr>
            <a:lvl5pPr>
              <a:defRPr sz="2625"/>
            </a:lvl5pPr>
            <a:lvl6pPr>
              <a:defRPr sz="2625"/>
            </a:lvl6pPr>
            <a:lvl7pPr>
              <a:defRPr sz="2625"/>
            </a:lvl7pPr>
            <a:lvl8pPr>
              <a:defRPr sz="2625"/>
            </a:lvl8pPr>
            <a:lvl9pPr>
              <a:defRPr sz="2625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16000" y="2700338"/>
            <a:ext cx="5225574" cy="5002709"/>
          </a:xfrm>
        </p:spPr>
        <p:txBody>
          <a:bodyPr/>
          <a:lstStyle>
            <a:lvl1pPr marL="0" indent="0">
              <a:buNone/>
              <a:defRPr sz="2100"/>
            </a:lvl1pPr>
            <a:lvl2pPr marL="600075" indent="0">
              <a:buNone/>
              <a:defRPr sz="1838"/>
            </a:lvl2pPr>
            <a:lvl3pPr marL="1200150" indent="0">
              <a:buNone/>
              <a:defRPr sz="1575"/>
            </a:lvl3pPr>
            <a:lvl4pPr marL="1800225" indent="0">
              <a:buNone/>
              <a:defRPr sz="1313"/>
            </a:lvl4pPr>
            <a:lvl5pPr marL="2400300" indent="0">
              <a:buNone/>
              <a:defRPr sz="1313"/>
            </a:lvl5pPr>
            <a:lvl6pPr marL="3000375" indent="0">
              <a:buNone/>
              <a:defRPr sz="1313"/>
            </a:lvl6pPr>
            <a:lvl7pPr marL="3600450" indent="0">
              <a:buNone/>
              <a:defRPr sz="1313"/>
            </a:lvl7pPr>
            <a:lvl8pPr marL="4200525" indent="0">
              <a:buNone/>
              <a:defRPr sz="1313"/>
            </a:lvl8pPr>
            <a:lvl9pPr marL="4800600" indent="0">
              <a:buNone/>
              <a:defRPr sz="1313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5-03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0552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6000" y="600075"/>
            <a:ext cx="5225574" cy="2100263"/>
          </a:xfrm>
        </p:spPr>
        <p:txBody>
          <a:bodyPr anchor="b"/>
          <a:lstStyle>
            <a:lvl1pPr>
              <a:defRPr sz="4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887971" y="1295996"/>
            <a:ext cx="8202275" cy="6396633"/>
          </a:xfrm>
        </p:spPr>
        <p:txBody>
          <a:bodyPr/>
          <a:lstStyle>
            <a:lvl1pPr marL="0" indent="0">
              <a:buNone/>
              <a:defRPr sz="4200"/>
            </a:lvl1pPr>
            <a:lvl2pPr marL="600075" indent="0">
              <a:buNone/>
              <a:defRPr sz="3675"/>
            </a:lvl2pPr>
            <a:lvl3pPr marL="1200150" indent="0">
              <a:buNone/>
              <a:defRPr sz="3150"/>
            </a:lvl3pPr>
            <a:lvl4pPr marL="1800225" indent="0">
              <a:buNone/>
              <a:defRPr sz="2625"/>
            </a:lvl4pPr>
            <a:lvl5pPr marL="2400300" indent="0">
              <a:buNone/>
              <a:defRPr sz="2625"/>
            </a:lvl5pPr>
            <a:lvl6pPr marL="3000375" indent="0">
              <a:buNone/>
              <a:defRPr sz="2625"/>
            </a:lvl6pPr>
            <a:lvl7pPr marL="3600450" indent="0">
              <a:buNone/>
              <a:defRPr sz="2625"/>
            </a:lvl7pPr>
            <a:lvl8pPr marL="4200525" indent="0">
              <a:buNone/>
              <a:defRPr sz="2625"/>
            </a:lvl8pPr>
            <a:lvl9pPr marL="4800600" indent="0">
              <a:buNone/>
              <a:defRPr sz="2625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16000" y="2700338"/>
            <a:ext cx="5225574" cy="5002709"/>
          </a:xfrm>
        </p:spPr>
        <p:txBody>
          <a:bodyPr/>
          <a:lstStyle>
            <a:lvl1pPr marL="0" indent="0">
              <a:buNone/>
              <a:defRPr sz="2100"/>
            </a:lvl1pPr>
            <a:lvl2pPr marL="600075" indent="0">
              <a:buNone/>
              <a:defRPr sz="1838"/>
            </a:lvl2pPr>
            <a:lvl3pPr marL="1200150" indent="0">
              <a:buNone/>
              <a:defRPr sz="1575"/>
            </a:lvl3pPr>
            <a:lvl4pPr marL="1800225" indent="0">
              <a:buNone/>
              <a:defRPr sz="1313"/>
            </a:lvl4pPr>
            <a:lvl5pPr marL="2400300" indent="0">
              <a:buNone/>
              <a:defRPr sz="1313"/>
            </a:lvl5pPr>
            <a:lvl6pPr marL="3000375" indent="0">
              <a:buNone/>
              <a:defRPr sz="1313"/>
            </a:lvl6pPr>
            <a:lvl7pPr marL="3600450" indent="0">
              <a:buNone/>
              <a:defRPr sz="1313"/>
            </a:lvl7pPr>
            <a:lvl8pPr marL="4200525" indent="0">
              <a:buNone/>
              <a:defRPr sz="1313"/>
            </a:lvl8pPr>
            <a:lvl9pPr marL="4800600" indent="0">
              <a:buNone/>
              <a:defRPr sz="1313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5-03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4925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5-03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18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5-03-2024</a:t>
            </a:fld>
            <a:endParaRPr lang="es-C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6607908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594574" y="479227"/>
            <a:ext cx="3493562" cy="7628037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113889" y="479227"/>
            <a:ext cx="10278160" cy="7628037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5-03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3375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102" y="358378"/>
            <a:ext cx="5330355" cy="152519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4542" y="358379"/>
            <a:ext cx="9057382" cy="7682211"/>
          </a:xfrm>
        </p:spPr>
        <p:txBody>
          <a:bodyPr/>
          <a:lstStyle>
            <a:lvl1pPr>
              <a:defRPr sz="5000"/>
            </a:lvl1pPr>
            <a:lvl2pPr>
              <a:defRPr sz="4400"/>
            </a:lvl2pPr>
            <a:lvl3pPr>
              <a:defRPr sz="38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0102" y="1883570"/>
            <a:ext cx="5330355" cy="6157020"/>
          </a:xfrm>
        </p:spPr>
        <p:txBody>
          <a:bodyPr/>
          <a:lstStyle>
            <a:lvl1pPr marL="0" indent="0">
              <a:buNone/>
              <a:defRPr sz="2200"/>
            </a:lvl1pPr>
            <a:lvl2pPr marL="720090" indent="0">
              <a:buNone/>
              <a:defRPr sz="1900"/>
            </a:lvl2pPr>
            <a:lvl3pPr marL="1440180" indent="0">
              <a:buNone/>
              <a:defRPr sz="1600"/>
            </a:lvl3pPr>
            <a:lvl4pPr marL="2160270" indent="0">
              <a:buNone/>
              <a:defRPr sz="1400"/>
            </a:lvl4pPr>
            <a:lvl5pPr marL="2880360" indent="0">
              <a:buNone/>
              <a:defRPr sz="1400"/>
            </a:lvl5pPr>
            <a:lvl6pPr marL="3600450" indent="0">
              <a:buNone/>
              <a:defRPr sz="1400"/>
            </a:lvl6pPr>
            <a:lvl7pPr marL="4320540" indent="0">
              <a:buNone/>
              <a:defRPr sz="1400"/>
            </a:lvl7pPr>
            <a:lvl8pPr marL="5040630" indent="0">
              <a:buNone/>
              <a:defRPr sz="1400"/>
            </a:lvl8pPr>
            <a:lvl9pPr marL="576072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5-03-2024</a:t>
            </a:fld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46041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710" y="6300787"/>
            <a:ext cx="9721215" cy="743844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175710" y="804267"/>
            <a:ext cx="9721215" cy="5400675"/>
          </a:xfrm>
        </p:spPr>
        <p:txBody>
          <a:bodyPr/>
          <a:lstStyle>
            <a:lvl1pPr marL="0" indent="0">
              <a:buNone/>
              <a:defRPr sz="5000"/>
            </a:lvl1pPr>
            <a:lvl2pPr marL="720090" indent="0">
              <a:buNone/>
              <a:defRPr sz="4400"/>
            </a:lvl2pPr>
            <a:lvl3pPr marL="1440180" indent="0">
              <a:buNone/>
              <a:defRPr sz="3800"/>
            </a:lvl3pPr>
            <a:lvl4pPr marL="2160270" indent="0">
              <a:buNone/>
              <a:defRPr sz="3200"/>
            </a:lvl4pPr>
            <a:lvl5pPr marL="2880360" indent="0">
              <a:buNone/>
              <a:defRPr sz="3200"/>
            </a:lvl5pPr>
            <a:lvl6pPr marL="3600450" indent="0">
              <a:buNone/>
              <a:defRPr sz="3200"/>
            </a:lvl6pPr>
            <a:lvl7pPr marL="4320540" indent="0">
              <a:buNone/>
              <a:defRPr sz="3200"/>
            </a:lvl7pPr>
            <a:lvl8pPr marL="5040630" indent="0">
              <a:buNone/>
              <a:defRPr sz="3200"/>
            </a:lvl8pPr>
            <a:lvl9pPr marL="5760720" indent="0">
              <a:buNone/>
              <a:defRPr sz="3200"/>
            </a:lvl9pPr>
          </a:lstStyle>
          <a:p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75710" y="7044631"/>
            <a:ext cx="9721215" cy="1056381"/>
          </a:xfrm>
        </p:spPr>
        <p:txBody>
          <a:bodyPr/>
          <a:lstStyle>
            <a:lvl1pPr marL="0" indent="0">
              <a:buNone/>
              <a:defRPr sz="2200"/>
            </a:lvl1pPr>
            <a:lvl2pPr marL="720090" indent="0">
              <a:buNone/>
              <a:defRPr sz="1900"/>
            </a:lvl2pPr>
            <a:lvl3pPr marL="1440180" indent="0">
              <a:buNone/>
              <a:defRPr sz="1600"/>
            </a:lvl3pPr>
            <a:lvl4pPr marL="2160270" indent="0">
              <a:buNone/>
              <a:defRPr sz="1400"/>
            </a:lvl4pPr>
            <a:lvl5pPr marL="2880360" indent="0">
              <a:buNone/>
              <a:defRPr sz="1400"/>
            </a:lvl5pPr>
            <a:lvl6pPr marL="3600450" indent="0">
              <a:buNone/>
              <a:defRPr sz="1400"/>
            </a:lvl6pPr>
            <a:lvl7pPr marL="4320540" indent="0">
              <a:buNone/>
              <a:defRPr sz="1400"/>
            </a:lvl7pPr>
            <a:lvl8pPr marL="5040630" indent="0">
              <a:buNone/>
              <a:defRPr sz="1400"/>
            </a:lvl8pPr>
            <a:lvl9pPr marL="576072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25-03-2024</a:t>
            </a:fld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594947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0101" y="360462"/>
            <a:ext cx="14581823" cy="1500188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0101" y="2100263"/>
            <a:ext cx="14581823" cy="5940326"/>
          </a:xfrm>
          <a:prstGeom prst="rect">
            <a:avLst/>
          </a:prstGeom>
        </p:spPr>
        <p:txBody>
          <a:bodyPr vert="horz" lIns="144018" tIns="72009" rIns="144018" bIns="7200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0101" y="8342710"/>
            <a:ext cx="3780473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l">
              <a:defRPr sz="1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1F7606-8703-4774-82E4-4A2AAF776758}" type="datetimeFigureOut">
              <a:rPr lang="es-CL" smtClean="0"/>
              <a:t>25-03-2024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5692" y="8342710"/>
            <a:ext cx="5130641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ctr">
              <a:defRPr sz="1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11451" y="8342710"/>
            <a:ext cx="3780473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r">
              <a:defRPr sz="1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47125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440180" rtl="0" eaLnBrk="1" latinLnBrk="0" hangingPunct="1">
        <a:spcBef>
          <a:spcPct val="0"/>
        </a:spcBef>
        <a:buNone/>
        <a:defRPr sz="6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0068" indent="-540068" algn="l" defTabSz="1440180" rtl="0" eaLnBrk="1" latinLnBrk="0" hangingPunct="1">
        <a:spcBef>
          <a:spcPct val="20000"/>
        </a:spcBef>
        <a:buFont typeface="Arial" pitchFamily="34" charset="0"/>
        <a:buChar char="•"/>
        <a:defRPr sz="5000" kern="1200">
          <a:solidFill>
            <a:schemeClr val="tx1"/>
          </a:solidFill>
          <a:latin typeface="+mn-lt"/>
          <a:ea typeface="+mn-ea"/>
          <a:cs typeface="+mn-cs"/>
        </a:defRPr>
      </a:lvl1pPr>
      <a:lvl2pPr marL="1170146" indent="-450056" algn="l" defTabSz="1440180" rtl="0" eaLnBrk="1" latinLnBrk="0" hangingPunct="1">
        <a:spcBef>
          <a:spcPct val="20000"/>
        </a:spcBef>
        <a:buFont typeface="Arial" pitchFamily="34" charset="0"/>
        <a:buChar char="–"/>
        <a:defRPr sz="4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22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520315" indent="-360045" algn="l" defTabSz="1440180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40405" indent="-360045" algn="l" defTabSz="1440180" rtl="0" eaLnBrk="1" latinLnBrk="0" hangingPunct="1">
        <a:spcBef>
          <a:spcPct val="20000"/>
        </a:spcBef>
        <a:buFont typeface="Arial" pitchFamily="34" charset="0"/>
        <a:buChar char="»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396049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68058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67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12076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9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16027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45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54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504063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76072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0101" y="360462"/>
            <a:ext cx="14581823" cy="1500188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0101" y="2100263"/>
            <a:ext cx="14581823" cy="5940326"/>
          </a:xfrm>
          <a:prstGeom prst="rect">
            <a:avLst/>
          </a:prstGeom>
        </p:spPr>
        <p:txBody>
          <a:bodyPr vert="horz" lIns="144018" tIns="72009" rIns="144018" bIns="72009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0101" y="8342711"/>
            <a:ext cx="3780473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l">
              <a:defRPr sz="18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fld id="{E51760D5-0A4F-46CB-966E-D7A789D304D4}" type="datetimeFigureOut">
              <a:rPr lang="es-CL" smtClean="0">
                <a:solidFill>
                  <a:srgbClr val="0C662F">
                    <a:tint val="75000"/>
                  </a:srgbClr>
                </a:solidFill>
              </a:rPr>
              <a:pPr defTabSz="1200150"/>
              <a:t>25-03-2024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5692" y="8342711"/>
            <a:ext cx="5130641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ctr">
              <a:defRPr sz="18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11451" y="8342711"/>
            <a:ext cx="3780473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r">
              <a:defRPr sz="18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fld id="{D53CCA99-CF64-451F-A9BB-06365FA9480C}" type="slidenum">
              <a:rPr lang="es-CL" smtClean="0">
                <a:solidFill>
                  <a:srgbClr val="0C662F">
                    <a:tint val="75000"/>
                  </a:srgbClr>
                </a:solidFill>
              </a:rPr>
              <a:pPr defTabSz="1200150"/>
              <a:t>‹Nº›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120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</p:sldLayoutIdLst>
  <p:txStyles>
    <p:titleStyle>
      <a:lvl1pPr algn="ctr" defTabSz="1422402" rtl="0" eaLnBrk="1" latinLnBrk="0" hangingPunct="1">
        <a:spcBef>
          <a:spcPct val="0"/>
        </a:spcBef>
        <a:buNone/>
        <a:defRPr sz="68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33401" indent="-533401" algn="l" defTabSz="1422402" rtl="0" eaLnBrk="1" latinLnBrk="0" hangingPunct="1">
        <a:spcBef>
          <a:spcPct val="20000"/>
        </a:spcBef>
        <a:buFont typeface="Arial" pitchFamily="34" charset="0"/>
        <a:buChar char="•"/>
        <a:defRPr sz="4939" kern="1200">
          <a:solidFill>
            <a:schemeClr val="tx1"/>
          </a:solidFill>
          <a:latin typeface="+mn-lt"/>
          <a:ea typeface="+mn-ea"/>
          <a:cs typeface="+mn-cs"/>
        </a:defRPr>
      </a:lvl1pPr>
      <a:lvl2pPr marL="1155702" indent="-444500" algn="l" defTabSz="1422402" rtl="0" eaLnBrk="1" latinLnBrk="0" hangingPunct="1">
        <a:spcBef>
          <a:spcPct val="20000"/>
        </a:spcBef>
        <a:buFont typeface="Arial" pitchFamily="34" charset="0"/>
        <a:buChar char="–"/>
        <a:defRPr sz="4346" kern="1200">
          <a:solidFill>
            <a:schemeClr val="tx1"/>
          </a:solidFill>
          <a:latin typeface="+mn-lt"/>
          <a:ea typeface="+mn-ea"/>
          <a:cs typeface="+mn-cs"/>
        </a:defRPr>
      </a:lvl2pPr>
      <a:lvl3pPr marL="1778003" indent="-355601" algn="l" defTabSz="1422402" rtl="0" eaLnBrk="1" latinLnBrk="0" hangingPunct="1">
        <a:spcBef>
          <a:spcPct val="20000"/>
        </a:spcBef>
        <a:buFont typeface="Arial" pitchFamily="34" charset="0"/>
        <a:buChar char="•"/>
        <a:defRPr sz="3754" kern="1200">
          <a:solidFill>
            <a:schemeClr val="tx1"/>
          </a:solidFill>
          <a:latin typeface="+mn-lt"/>
          <a:ea typeface="+mn-ea"/>
          <a:cs typeface="+mn-cs"/>
        </a:defRPr>
      </a:lvl3pPr>
      <a:lvl4pPr marL="2489205" indent="-355601" algn="l" defTabSz="1422402" rtl="0" eaLnBrk="1" latinLnBrk="0" hangingPunct="1">
        <a:spcBef>
          <a:spcPct val="20000"/>
        </a:spcBef>
        <a:buFont typeface="Arial" pitchFamily="34" charset="0"/>
        <a:buChar char="–"/>
        <a:defRPr sz="3161" kern="1200">
          <a:solidFill>
            <a:schemeClr val="tx1"/>
          </a:solidFill>
          <a:latin typeface="+mn-lt"/>
          <a:ea typeface="+mn-ea"/>
          <a:cs typeface="+mn-cs"/>
        </a:defRPr>
      </a:lvl4pPr>
      <a:lvl5pPr marL="3200407" indent="-355601" algn="l" defTabSz="1422402" rtl="0" eaLnBrk="1" latinLnBrk="0" hangingPunct="1">
        <a:spcBef>
          <a:spcPct val="20000"/>
        </a:spcBef>
        <a:buFont typeface="Arial" pitchFamily="34" charset="0"/>
        <a:buChar char="»"/>
        <a:defRPr sz="3161" kern="1200">
          <a:solidFill>
            <a:schemeClr val="tx1"/>
          </a:solidFill>
          <a:latin typeface="+mn-lt"/>
          <a:ea typeface="+mn-ea"/>
          <a:cs typeface="+mn-cs"/>
        </a:defRPr>
      </a:lvl5pPr>
      <a:lvl6pPr marL="3911607" indent="-355601" algn="l" defTabSz="1422402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6pPr>
      <a:lvl7pPr marL="4622809" indent="-355601" algn="l" defTabSz="1422402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7pPr>
      <a:lvl8pPr marL="5334011" indent="-355601" algn="l" defTabSz="1422402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8pPr>
      <a:lvl9pPr marL="6045212" indent="-355601" algn="l" defTabSz="1422402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1pPr>
      <a:lvl2pPr marL="711202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2pPr>
      <a:lvl3pPr marL="1422402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4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4pPr>
      <a:lvl5pPr marL="2844806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5pPr>
      <a:lvl6pPr marL="3556007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6pPr>
      <a:lvl7pPr marL="4267208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7pPr>
      <a:lvl8pPr marL="4978410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8pPr>
      <a:lvl9pPr marL="5689611" algn="l" defTabSz="1422402" rtl="0" eaLnBrk="1" latinLnBrk="0" hangingPunct="1">
        <a:defRPr sz="2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3889" y="479227"/>
            <a:ext cx="13974247" cy="1739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3889" y="2396133"/>
            <a:ext cx="13974247" cy="5711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13889" y="8342710"/>
            <a:ext cx="3645456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1200150"/>
              <a:t>25-03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66921" y="8342710"/>
            <a:ext cx="5468183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2680" y="8342710"/>
            <a:ext cx="3645456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1200150"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75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xStyles>
    <p:titleStyle>
      <a:lvl1pPr algn="l" defTabSz="1200150" rtl="0" eaLnBrk="1" latinLnBrk="0" hangingPunct="1">
        <a:lnSpc>
          <a:spcPct val="90000"/>
        </a:lnSpc>
        <a:spcBef>
          <a:spcPct val="0"/>
        </a:spcBef>
        <a:buNone/>
        <a:defRPr sz="57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0038" indent="-300038" algn="l" defTabSz="1200150" rtl="0" eaLnBrk="1" latinLnBrk="0" hangingPunct="1">
        <a:lnSpc>
          <a:spcPct val="90000"/>
        </a:lnSpc>
        <a:spcBef>
          <a:spcPts val="1313"/>
        </a:spcBef>
        <a:buFont typeface="Arial" panose="020B0604020202020204" pitchFamily="34" charset="0"/>
        <a:buChar char="•"/>
        <a:defRPr sz="3675" kern="1200">
          <a:solidFill>
            <a:schemeClr val="tx1"/>
          </a:solidFill>
          <a:latin typeface="+mn-lt"/>
          <a:ea typeface="+mn-ea"/>
          <a:cs typeface="+mn-cs"/>
        </a:defRPr>
      </a:lvl1pPr>
      <a:lvl2pPr marL="9001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2pPr>
      <a:lvl3pPr marL="15001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625" kern="1200">
          <a:solidFill>
            <a:schemeClr val="tx1"/>
          </a:solidFill>
          <a:latin typeface="+mn-lt"/>
          <a:ea typeface="+mn-ea"/>
          <a:cs typeface="+mn-cs"/>
        </a:defRPr>
      </a:lvl3pPr>
      <a:lvl4pPr marL="21002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7003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3004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9004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5005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51006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1pPr>
      <a:lvl2pPr marL="6000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4003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0003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6004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2005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48006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8.xml"/><Relationship Id="rId5" Type="http://schemas.openxmlformats.org/officeDocument/2006/relationships/image" Target="../media/image40.tiff"/><Relationship Id="rId4" Type="http://schemas.openxmlformats.org/officeDocument/2006/relationships/image" Target="../media/image39.tif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9.xml"/><Relationship Id="rId6" Type="http://schemas.openxmlformats.org/officeDocument/2006/relationships/image" Target="../media/image43.jpg"/><Relationship Id="rId5" Type="http://schemas.openxmlformats.org/officeDocument/2006/relationships/image" Target="../media/image42.png"/><Relationship Id="rId4" Type="http://schemas.openxmlformats.org/officeDocument/2006/relationships/image" Target="../media/image41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0.xml"/><Relationship Id="rId5" Type="http://schemas.openxmlformats.org/officeDocument/2006/relationships/image" Target="../media/image43.jpg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1.xml"/><Relationship Id="rId5" Type="http://schemas.openxmlformats.org/officeDocument/2006/relationships/image" Target="../media/image40.tiff"/><Relationship Id="rId4" Type="http://schemas.openxmlformats.org/officeDocument/2006/relationships/image" Target="../media/image39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2.xml"/><Relationship Id="rId5" Type="http://schemas.openxmlformats.org/officeDocument/2006/relationships/image" Target="../media/image40.tiff"/><Relationship Id="rId4" Type="http://schemas.openxmlformats.org/officeDocument/2006/relationships/image" Target="../media/image39.tif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3.xml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4.xml"/><Relationship Id="rId5" Type="http://schemas.openxmlformats.org/officeDocument/2006/relationships/image" Target="../media/image40.tiff"/><Relationship Id="rId4" Type="http://schemas.openxmlformats.org/officeDocument/2006/relationships/image" Target="../media/image39.tif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5.xml"/><Relationship Id="rId5" Type="http://schemas.openxmlformats.org/officeDocument/2006/relationships/image" Target="../media/image39.tiff"/><Relationship Id="rId4" Type="http://schemas.openxmlformats.org/officeDocument/2006/relationships/image" Target="../media/image46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7" Type="http://schemas.openxmlformats.org/officeDocument/2006/relationships/image" Target="../media/image22.emf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18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7.xml"/><Relationship Id="rId5" Type="http://schemas.openxmlformats.org/officeDocument/2006/relationships/image" Target="../media/image40.tiff"/><Relationship Id="rId4" Type="http://schemas.openxmlformats.org/officeDocument/2006/relationships/image" Target="../media/image39.tif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8.xml"/><Relationship Id="rId5" Type="http://schemas.openxmlformats.org/officeDocument/2006/relationships/image" Target="../media/image39.tiff"/><Relationship Id="rId4" Type="http://schemas.openxmlformats.org/officeDocument/2006/relationships/image" Target="../media/image1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9.xml"/><Relationship Id="rId4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0.xml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1.xml"/><Relationship Id="rId4" Type="http://schemas.openxmlformats.org/officeDocument/2006/relationships/image" Target="../media/image1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g"/><Relationship Id="rId3" Type="http://schemas.openxmlformats.org/officeDocument/2006/relationships/image" Target="../media/image19.png"/><Relationship Id="rId7" Type="http://schemas.openxmlformats.org/officeDocument/2006/relationships/image" Target="../media/image54.tiff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3.xml"/><Relationship Id="rId6" Type="http://schemas.openxmlformats.org/officeDocument/2006/relationships/image" Target="../media/image53.emf"/><Relationship Id="rId5" Type="http://schemas.openxmlformats.org/officeDocument/2006/relationships/image" Target="../media/image52.emf"/><Relationship Id="rId4" Type="http://schemas.openxmlformats.org/officeDocument/2006/relationships/image" Target="../media/image5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4.xml"/><Relationship Id="rId5" Type="http://schemas.openxmlformats.org/officeDocument/2006/relationships/image" Target="../media/image56.png"/><Relationship Id="rId4" Type="http://schemas.openxmlformats.org/officeDocument/2006/relationships/image" Target="../media/image35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19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61.xml"/><Relationship Id="rId1" Type="http://schemas.openxmlformats.org/officeDocument/2006/relationships/tags" Target="../tags/tag46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NULL"/><Relationship Id="rId4" Type="http://schemas.openxmlformats.org/officeDocument/2006/relationships/image" Target="../media/image5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61.xml"/><Relationship Id="rId1" Type="http://schemas.openxmlformats.org/officeDocument/2006/relationships/tags" Target="../tags/tag47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NULL"/><Relationship Id="rId4" Type="http://schemas.openxmlformats.org/officeDocument/2006/relationships/image" Target="../media/image5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4" Type="http://schemas.openxmlformats.org/officeDocument/2006/relationships/image" Target="../media/image6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iff"/><Relationship Id="rId3" Type="http://schemas.openxmlformats.org/officeDocument/2006/relationships/image" Target="../media/image19.png"/><Relationship Id="rId7" Type="http://schemas.openxmlformats.org/officeDocument/2006/relationships/image" Target="../media/image29.tiff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0.xml"/><Relationship Id="rId6" Type="http://schemas.openxmlformats.org/officeDocument/2006/relationships/image" Target="../media/image28.tiff"/><Relationship Id="rId5" Type="http://schemas.openxmlformats.org/officeDocument/2006/relationships/image" Target="../media/image27.tiff"/><Relationship Id="rId4" Type="http://schemas.openxmlformats.org/officeDocument/2006/relationships/image" Target="../media/image26.tiff"/><Relationship Id="rId9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1.xml"/><Relationship Id="rId6" Type="http://schemas.openxmlformats.org/officeDocument/2006/relationships/image" Target="../media/image34.jpeg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2.xml"/><Relationship Id="rId5" Type="http://schemas.openxmlformats.org/officeDocument/2006/relationships/image" Target="../media/image36.jp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3.xml"/><Relationship Id="rId4" Type="http://schemas.openxmlformats.org/officeDocument/2006/relationships/image" Target="../media/image37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4.xml"/><Relationship Id="rId4" Type="http://schemas.openxmlformats.org/officeDocument/2006/relationships/image" Target="../media/image38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8A2EA889-A432-7844-98BC-0926DE3D0223}"/>
              </a:ext>
            </a:extLst>
          </p:cNvPr>
          <p:cNvSpPr/>
          <p:nvPr/>
        </p:nvSpPr>
        <p:spPr>
          <a:xfrm>
            <a:off x="36116" y="-35942"/>
            <a:ext cx="16381932" cy="904582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/>
          </a:p>
        </p:txBody>
      </p:sp>
      <p:sp>
        <p:nvSpPr>
          <p:cNvPr id="12" name="Marcador de texto 1">
            <a:extLst>
              <a:ext uri="{FF2B5EF4-FFF2-40B4-BE49-F238E27FC236}">
                <a16:creationId xmlns:a16="http://schemas.microsoft.com/office/drawing/2014/main" xmlns="" id="{D320DF5E-4121-4C49-A167-D91BC40738E8}"/>
              </a:ext>
            </a:extLst>
          </p:cNvPr>
          <p:cNvSpPr txBox="1">
            <a:spLocks/>
          </p:cNvSpPr>
          <p:nvPr/>
        </p:nvSpPr>
        <p:spPr>
          <a:xfrm>
            <a:off x="7075689" y="6300762"/>
            <a:ext cx="8064897" cy="1582173"/>
          </a:xfrm>
          <a:prstGeom prst="rect">
            <a:avLst/>
          </a:prstGeom>
        </p:spPr>
        <p:txBody>
          <a:bodyPr vert="horz" lIns="120015" tIns="60008" rIns="120015" bIns="60008" rtlCol="0" anchor="ctr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4400" dirty="0">
              <a:solidFill>
                <a:srgbClr val="0C662F"/>
              </a:solidFill>
              <a:latin typeface="ACHS Nueva Serif" pitchFamily="2" charset="77"/>
            </a:endParaRPr>
          </a:p>
          <a:p>
            <a:pPr algn="l"/>
            <a:r>
              <a:rPr lang="es-MX" sz="4400" dirty="0">
                <a:solidFill>
                  <a:srgbClr val="0C662F"/>
                </a:solidFill>
                <a:latin typeface="ACHS Nueva Serif" pitchFamily="2" charset="77"/>
              </a:rPr>
              <a:t>DIFUSIÓN PROTOCOLO DE EXPOSICIÓN OCUPACIONAL A RUIDO - PREXOR</a:t>
            </a:r>
          </a:p>
          <a:p>
            <a:pPr algn="l"/>
            <a:endParaRPr lang="es-CL" sz="4400" dirty="0">
              <a:solidFill>
                <a:srgbClr val="0C662F"/>
              </a:solidFill>
              <a:latin typeface="ACHS Nueva Serif" pitchFamily="2" charset="77"/>
            </a:endParaRPr>
          </a:p>
        </p:txBody>
      </p:sp>
      <p:pic>
        <p:nvPicPr>
          <p:cNvPr id="11" name="Imagen 14">
            <a:extLst>
              <a:ext uri="{FF2B5EF4-FFF2-40B4-BE49-F238E27FC236}">
                <a16:creationId xmlns:a16="http://schemas.microsoft.com/office/drawing/2014/main" xmlns="" id="{33D63F6E-A8D1-0F41-BD76-639E1F65D7E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23962" y="526896"/>
            <a:ext cx="1093874" cy="171056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7092900" y="5328135"/>
            <a:ext cx="103906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3200" b="1" dirty="0">
                <a:solidFill>
                  <a:srgbClr val="0C662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la:</a:t>
            </a:r>
          </a:p>
        </p:txBody>
      </p:sp>
      <p:pic>
        <p:nvPicPr>
          <p:cNvPr id="7" name="Picture 2" descr="F:\ACHS\111_Maestro\wetransfer-93e533\003-Construcción-Baja\800_5395.jp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8760"/>
            <a:ext cx="6349365" cy="900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ángulo redondeado 12">
            <a:extLst>
              <a:ext uri="{FF2B5EF4-FFF2-40B4-BE49-F238E27FC236}">
                <a16:creationId xmlns:a16="http://schemas.microsoft.com/office/drawing/2014/main" xmlns="" id="{6A56F127-F79B-014A-A790-DEFF67DDB15B}"/>
              </a:ext>
            </a:extLst>
          </p:cNvPr>
          <p:cNvSpPr/>
          <p:nvPr/>
        </p:nvSpPr>
        <p:spPr>
          <a:xfrm>
            <a:off x="7092901" y="5457401"/>
            <a:ext cx="2855268" cy="484328"/>
          </a:xfrm>
          <a:prstGeom prst="roundRect">
            <a:avLst/>
          </a:prstGeom>
          <a:solidFill>
            <a:srgbClr val="74E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9A08B2DE-5AEB-F349-BCBA-532312E46673}"/>
              </a:ext>
            </a:extLst>
          </p:cNvPr>
          <p:cNvSpPr/>
          <p:nvPr/>
        </p:nvSpPr>
        <p:spPr>
          <a:xfrm>
            <a:off x="7092900" y="5457401"/>
            <a:ext cx="2855269" cy="4555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199431">
              <a:defRPr/>
            </a:pPr>
            <a:r>
              <a:rPr lang="es-ES" sz="2360" dirty="0" smtClean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Charla / </a:t>
            </a:r>
            <a:r>
              <a:rPr lang="es-ES" sz="2360" dirty="0" err="1" smtClean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Streaming</a:t>
            </a:r>
            <a:endParaRPr lang="es-ES" sz="2360" dirty="0">
              <a:solidFill>
                <a:srgbClr val="004C14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09316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">
            <a:extLst>
              <a:ext uri="{FF2B5EF4-FFF2-40B4-BE49-F238E27FC236}">
                <a16:creationId xmlns:a16="http://schemas.microsoft.com/office/drawing/2014/main" xmlns="" id="{9B1D844C-521A-134B-9192-82A17AAEAE48}"/>
              </a:ext>
            </a:extLst>
          </p:cNvPr>
          <p:cNvSpPr/>
          <p:nvPr/>
        </p:nvSpPr>
        <p:spPr>
          <a:xfrm>
            <a:off x="4716636" y="2005250"/>
            <a:ext cx="10153128" cy="6555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Se establece un plazo para la implementación de soluciones de control de ruido, en función de la Dosis de Ruido Diarias obtenidas en la evaluación cuantitativa, de acuerdo  a:</a:t>
            </a:r>
          </a:p>
          <a:p>
            <a:pPr marL="12700" marR="5080" algn="just"/>
            <a:endParaRPr lang="es-CL" sz="2000" dirty="0">
              <a:latin typeface="ACHS Nueva Sans Medium" pitchFamily="2" charset="77"/>
              <a:cs typeface="Calibri" panose="020F0502020204030204" pitchFamily="34" charset="0"/>
            </a:endParaRPr>
          </a:p>
          <a:p>
            <a:pPr marL="469900" indent="-457200" algn="just">
              <a:buFont typeface="+mj-lt"/>
              <a:buAutoNum type="alphaLcPeriod"/>
            </a:pP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Periodicidad</a:t>
            </a:r>
            <a:r>
              <a:rPr lang="es-CL" sz="2000" dirty="0"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ara las evaluaciones ambientales será de </a:t>
            </a: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3 años,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ara aquellas exposiciones ocupacionales, cuyas dosis de ruido diarias sean </a:t>
            </a: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menores a la Dosis de Acción de 0.5.</a:t>
            </a:r>
          </a:p>
          <a:p>
            <a:pPr marL="469900" marR="5080" indent="-457200" algn="just">
              <a:buFont typeface="+mj-lt"/>
              <a:buAutoNum type="alphaLcPeriod"/>
            </a:pPr>
            <a:endParaRPr lang="es-CL" sz="2000" dirty="0">
              <a:latin typeface="ACHS Nueva Sans Medium" pitchFamily="2" charset="77"/>
              <a:cs typeface="Calibri" panose="020F0502020204030204" pitchFamily="34" charset="0"/>
            </a:endParaRPr>
          </a:p>
          <a:p>
            <a:pPr marL="469900" marR="5080" indent="-457200" algn="just">
              <a:buFont typeface="+mj-lt"/>
              <a:buAutoNum type="alphaLcPeriod"/>
            </a:pP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lazo máximo de 1 año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ara implementar medidas de control, si la </a:t>
            </a: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dosis de ruido diaria</a:t>
            </a:r>
            <a:r>
              <a:rPr lang="es-CL" sz="2000" dirty="0"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se  encuentra entre  0,5 y 10 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(10 veces la DMP=1).</a:t>
            </a:r>
          </a:p>
          <a:p>
            <a:pPr marL="469900" marR="5080" indent="-457200" algn="just">
              <a:buFont typeface="+mj-lt"/>
              <a:buAutoNum type="alphaLcPeriod"/>
            </a:pPr>
            <a:endParaRPr lang="es-CL" sz="2000" dirty="0">
              <a:latin typeface="ACHS Nueva Sans Medium" pitchFamily="2" charset="77"/>
              <a:cs typeface="Calibri" panose="020F0502020204030204" pitchFamily="34" charset="0"/>
            </a:endParaRPr>
          </a:p>
          <a:p>
            <a:pPr marL="469900" marR="5080" indent="-457200" algn="just">
              <a:buFont typeface="+mj-lt"/>
              <a:buAutoNum type="alphaLcPeriod"/>
            </a:pP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lazo máximo de 6 meses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ara implementar medidas de control, si la </a:t>
            </a:r>
            <a:r>
              <a:rPr lang="es-CL" sz="2000" b="1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dosis de ruido diaria resulta sobre el valor 10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(10 veces la DMP=1) ó si se constata la presencia de ruido  impulsivo de magnitud mayor a 135 dB (C) peak.</a:t>
            </a:r>
          </a:p>
          <a:p>
            <a:pPr marL="469900" marR="5080" indent="-457200" algn="just">
              <a:buFont typeface="+mj-lt"/>
              <a:buAutoNum type="alphaLcPeriod"/>
            </a:pPr>
            <a:endParaRPr lang="es-CL" sz="2000" dirty="0">
              <a:solidFill>
                <a:schemeClr val="tx1">
                  <a:lumMod val="50000"/>
                </a:schemeClr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2700" marR="5080"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n caso que se compruebe que no se ha efectuado ninguna gestión respecto al riesgo, el OAL deberá  informar de dicha situación a la Autoridad Sanitaria Regional que corresponda y no se debe re-evaluar  la condición de exposición. Plazo se inicia en la fecha de entrega de la evaluación cuantitativa, que a  su vez tiene un plazo de entrega de 30 días, luego de efectuadas las mediciones ambientales.</a:t>
            </a:r>
          </a:p>
          <a:p>
            <a:pPr marL="12700" marR="5080" algn="just"/>
            <a:endParaRPr lang="es-CL" sz="2000" dirty="0">
              <a:latin typeface="ACHS Nueva Sans Medium" pitchFamily="2" charset="77"/>
              <a:cs typeface="Calibri" panose="020F050202020403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5" name="Título 30">
            <a:extLst>
              <a:ext uri="{FF2B5EF4-FFF2-40B4-BE49-F238E27FC236}">
                <a16:creationId xmlns:a16="http://schemas.microsoft.com/office/drawing/2014/main" xmlns="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27980" y="652049"/>
            <a:ext cx="6182408" cy="610116"/>
          </a:xfrm>
        </p:spPr>
        <p:txBody>
          <a:bodyPr>
            <a:norm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Protocolo PREXO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Plazos para la implementación de medidas de control según PREXOR:</a:t>
            </a:r>
          </a:p>
          <a:p>
            <a:endParaRPr lang="es-CL" sz="2100" b="1" dirty="0">
              <a:solidFill>
                <a:srgbClr val="0C662F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43" name="Rectangle 16">
            <a:extLst>
              <a:ext uri="{FF2B5EF4-FFF2-40B4-BE49-F238E27FC236}">
                <a16:creationId xmlns:a16="http://schemas.microsoft.com/office/drawing/2014/main" xmlns="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85055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xmlns="" id="{AB60DADE-3654-0743-9BAF-01ADA983D748}"/>
              </a:ext>
            </a:extLst>
          </p:cNvPr>
          <p:cNvSpPr/>
          <p:nvPr/>
        </p:nvSpPr>
        <p:spPr>
          <a:xfrm>
            <a:off x="4716636" y="2005250"/>
            <a:ext cx="9865095" cy="4426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887094" algn="just">
              <a:lnSpc>
                <a:spcPct val="100000"/>
              </a:lnSpc>
              <a:spcBef>
                <a:spcPts val="1350"/>
              </a:spcBef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l PREXOR debe ser difundido y conocido al interior de las empresas,  en los distintos niveles jerárquicos, tales como:</a:t>
            </a:r>
          </a:p>
          <a:p>
            <a:pPr algn="just">
              <a:lnSpc>
                <a:spcPct val="100000"/>
              </a:lnSpc>
              <a:spcBef>
                <a:spcPts val="25"/>
              </a:spcBef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441325" indent="-441325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mpleadores.</a:t>
            </a:r>
          </a:p>
          <a:p>
            <a:pPr marL="441325" indent="-441325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Trabajadores en general.</a:t>
            </a:r>
          </a:p>
          <a:p>
            <a:pPr marL="441325" indent="-441325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xpertos en Prevención de Riesgos.</a:t>
            </a:r>
          </a:p>
          <a:p>
            <a:pPr marL="441325" indent="-441325" algn="just">
              <a:lnSpc>
                <a:spcPct val="100000"/>
              </a:lnSpc>
              <a:spcBef>
                <a:spcPts val="5"/>
              </a:spcBef>
              <a:buFont typeface="Arial" panose="020B0604020202020204" pitchFamily="34" charset="0"/>
              <a:buChar char="•"/>
            </a:pPr>
            <a:r>
              <a:rPr lang="es-CL" sz="2000" b="1" dirty="0">
                <a:solidFill>
                  <a:srgbClr val="0C662F"/>
                </a:solidFill>
                <a:latin typeface="ACHS Nueva Sans Medium" pitchFamily="2" charset="77"/>
                <a:cs typeface="Calibri" panose="020F0502020204030204" pitchFamily="34" charset="0"/>
              </a:rPr>
              <a:t>Miembros del comité paritario de las empresas.</a:t>
            </a:r>
          </a:p>
          <a:p>
            <a:pPr marL="441325" indent="-441325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Dirigentes Sindicales.</a:t>
            </a:r>
          </a:p>
          <a:p>
            <a:pPr marL="12700" marR="5080" algn="just">
              <a:lnSpc>
                <a:spcPct val="100000"/>
              </a:lnSpc>
              <a:spcBef>
                <a:spcPts val="95"/>
              </a:spcBef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R="821690">
              <a:lnSpc>
                <a:spcPct val="100000"/>
              </a:lnSpc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La difusión del PREXOR debe quedar acreditada mediante una «Acta», que indique su realización e incluya a todas las personas que tomaron conocimiento del PREXOR, la cual debe ser remitida a la Autoridad Sanitaria Regional  y a la Inspección del Trabajo correspondiente.</a:t>
            </a:r>
          </a:p>
          <a:p>
            <a:pPr marL="12700" marR="5080" algn="just">
              <a:lnSpc>
                <a:spcPct val="100000"/>
              </a:lnSpc>
              <a:spcBef>
                <a:spcPts val="95"/>
              </a:spcBef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sp>
        <p:nvSpPr>
          <p:cNvPr id="13" name="Título 30">
            <a:extLst>
              <a:ext uri="{FF2B5EF4-FFF2-40B4-BE49-F238E27FC236}">
                <a16:creationId xmlns:a16="http://schemas.microsoft.com/office/drawing/2014/main" xmlns="" id="{095A6FDA-DBD3-3440-B6E3-898D61FE60EA}"/>
              </a:ext>
            </a:extLst>
          </p:cNvPr>
          <p:cNvSpPr txBox="1">
            <a:spLocks/>
          </p:cNvSpPr>
          <p:nvPr/>
        </p:nvSpPr>
        <p:spPr>
          <a:xfrm>
            <a:off x="-1620068" y="648323"/>
            <a:ext cx="6182408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Difusió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1664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AE258375-5BCF-EC40-AC9D-7A081E94639F}"/>
              </a:ext>
            </a:extLst>
          </p:cNvPr>
          <p:cNvGrpSpPr/>
          <p:nvPr/>
        </p:nvGrpSpPr>
        <p:grpSpPr>
          <a:xfrm>
            <a:off x="10247452" y="3394285"/>
            <a:ext cx="5342392" cy="3501311"/>
            <a:chOff x="-4576573" y="4196793"/>
            <a:chExt cx="4320891" cy="2831837"/>
          </a:xfrm>
        </p:grpSpPr>
        <p:sp>
          <p:nvSpPr>
            <p:cNvPr id="42" name="Rectángulo redondeado 17">
              <a:extLst>
                <a:ext uri="{FF2B5EF4-FFF2-40B4-BE49-F238E27FC236}">
                  <a16:creationId xmlns:a16="http://schemas.microsoft.com/office/drawing/2014/main" xmlns="" id="{5B52CBB6-0C3A-9049-84B6-76CAFABFDECF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43" name="Rectángulo redondeado 18">
              <a:extLst>
                <a:ext uri="{FF2B5EF4-FFF2-40B4-BE49-F238E27FC236}">
                  <a16:creationId xmlns:a16="http://schemas.microsoft.com/office/drawing/2014/main" xmlns="" id="{0010BF70-C873-5149-8D6B-D856CFC5564D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50C9EED2-6190-5642-A6A7-404222F43101}"/>
              </a:ext>
            </a:extLst>
          </p:cNvPr>
          <p:cNvGrpSpPr/>
          <p:nvPr/>
        </p:nvGrpSpPr>
        <p:grpSpPr>
          <a:xfrm>
            <a:off x="4338718" y="3412682"/>
            <a:ext cx="5342392" cy="3501311"/>
            <a:chOff x="-4576573" y="4196793"/>
            <a:chExt cx="4320891" cy="2831837"/>
          </a:xfrm>
        </p:grpSpPr>
        <p:sp>
          <p:nvSpPr>
            <p:cNvPr id="33" name="Rectángulo redondeado 17">
              <a:extLst>
                <a:ext uri="{FF2B5EF4-FFF2-40B4-BE49-F238E27FC236}">
                  <a16:creationId xmlns:a16="http://schemas.microsoft.com/office/drawing/2014/main" xmlns="" id="{419D35A0-4C48-DB44-AD1A-0C5F1E227D8E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34" name="Rectángulo redondeado 18">
              <a:extLst>
                <a:ext uri="{FF2B5EF4-FFF2-40B4-BE49-F238E27FC236}">
                  <a16:creationId xmlns:a16="http://schemas.microsoft.com/office/drawing/2014/main" xmlns="" id="{CEED655D-36A5-9242-BACF-C5E5290B9912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:a16="http://schemas.microsoft.com/office/drawing/2014/main" xmlns="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xmlns="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xmlns="" id="{BB2E8559-B1B5-C542-BC70-C6000F8FB561}"/>
              </a:ext>
            </a:extLst>
          </p:cNvPr>
          <p:cNvSpPr/>
          <p:nvPr/>
        </p:nvSpPr>
        <p:spPr>
          <a:xfrm>
            <a:off x="4495189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4">
            <a:extLst>
              <a:ext uri="{FF2B5EF4-FFF2-40B4-BE49-F238E27FC236}">
                <a16:creationId xmlns:a16="http://schemas.microsoft.com/office/drawing/2014/main" xmlns="" id="{71D8A155-F16F-2345-9976-D0086AF7955B}"/>
              </a:ext>
            </a:extLst>
          </p:cNvPr>
          <p:cNvSpPr txBox="1"/>
          <p:nvPr/>
        </p:nvSpPr>
        <p:spPr>
          <a:xfrm>
            <a:off x="8606569" y="1856332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21" name="object 9">
            <a:extLst>
              <a:ext uri="{FF2B5EF4-FFF2-40B4-BE49-F238E27FC236}">
                <a16:creationId xmlns:a16="http://schemas.microsoft.com/office/drawing/2014/main" xmlns="" id="{CF07917E-19CA-7542-9AE8-947242AB3883}"/>
              </a:ext>
            </a:extLst>
          </p:cNvPr>
          <p:cNvSpPr txBox="1"/>
          <p:nvPr/>
        </p:nvSpPr>
        <p:spPr>
          <a:xfrm>
            <a:off x="5552729" y="4101066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24" name="object 12">
            <a:extLst>
              <a:ext uri="{FF2B5EF4-FFF2-40B4-BE49-F238E27FC236}">
                <a16:creationId xmlns:a16="http://schemas.microsoft.com/office/drawing/2014/main" xmlns="" id="{BD43B94F-88B3-DF4C-8D2A-BA790A43E303}"/>
              </a:ext>
            </a:extLst>
          </p:cNvPr>
          <p:cNvSpPr txBox="1"/>
          <p:nvPr/>
        </p:nvSpPr>
        <p:spPr>
          <a:xfrm>
            <a:off x="5552729" y="3612843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sp>
        <p:nvSpPr>
          <p:cNvPr id="27" name="object 15">
            <a:extLst>
              <a:ext uri="{FF2B5EF4-FFF2-40B4-BE49-F238E27FC236}">
                <a16:creationId xmlns:a16="http://schemas.microsoft.com/office/drawing/2014/main" xmlns="" id="{C5AE2462-5D35-B44D-90ED-35B215C8865C}"/>
              </a:ext>
            </a:extLst>
          </p:cNvPr>
          <p:cNvSpPr txBox="1"/>
          <p:nvPr/>
        </p:nvSpPr>
        <p:spPr>
          <a:xfrm>
            <a:off x="11564023" y="3646646"/>
            <a:ext cx="2709251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de la Salud</a:t>
            </a:r>
          </a:p>
        </p:txBody>
      </p:sp>
      <p:sp>
        <p:nvSpPr>
          <p:cNvPr id="30" name="object 18">
            <a:extLst>
              <a:ext uri="{FF2B5EF4-FFF2-40B4-BE49-F238E27FC236}">
                <a16:creationId xmlns:a16="http://schemas.microsoft.com/office/drawing/2014/main" xmlns="" id="{02B7750A-DA7A-D747-959A-F11C8BE667F4}"/>
              </a:ext>
            </a:extLst>
          </p:cNvPr>
          <p:cNvSpPr txBox="1"/>
          <p:nvPr/>
        </p:nvSpPr>
        <p:spPr>
          <a:xfrm>
            <a:off x="11646326" y="4083885"/>
            <a:ext cx="3402638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de la Salud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habilitación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educación Profesional</a:t>
            </a:r>
          </a:p>
        </p:txBody>
      </p:sp>
      <p:sp>
        <p:nvSpPr>
          <p:cNvPr id="31" name="object 19">
            <a:extLst>
              <a:ext uri="{FF2B5EF4-FFF2-40B4-BE49-F238E27FC236}">
                <a16:creationId xmlns:a16="http://schemas.microsoft.com/office/drawing/2014/main" xmlns="" id="{82A8DF4F-2C6B-1244-BB74-035B91CA895B}"/>
              </a:ext>
            </a:extLst>
          </p:cNvPr>
          <p:cNvSpPr txBox="1"/>
          <p:nvPr/>
        </p:nvSpPr>
        <p:spPr>
          <a:xfrm>
            <a:off x="4902061" y="7406333"/>
            <a:ext cx="10181015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/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  <a:spcBef>
                <a:spcPts val="440"/>
              </a:spcBef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1" name="Triangle 60">
            <a:extLst>
              <a:ext uri="{FF2B5EF4-FFF2-40B4-BE49-F238E27FC236}">
                <a16:creationId xmlns:a16="http://schemas.microsoft.com/office/drawing/2014/main" xmlns="" id="{AC2F37E7-9ECA-9643-8CCC-29C5935B43D3}"/>
              </a:ext>
            </a:extLst>
          </p:cNvPr>
          <p:cNvSpPr/>
          <p:nvPr/>
        </p:nvSpPr>
        <p:spPr>
          <a:xfrm rot="10800000">
            <a:off x="12347014" y="2615157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xmlns="" id="{2BDA6CAA-FF43-3044-A164-1FC6F35D275A}"/>
              </a:ext>
            </a:extLst>
          </p:cNvPr>
          <p:cNvSpPr/>
          <p:nvPr/>
        </p:nvSpPr>
        <p:spPr>
          <a:xfrm rot="10800000">
            <a:off x="6532469" y="261335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B904247A-41D0-734F-9D12-B0FBF16A8EE7}"/>
              </a:ext>
            </a:extLst>
          </p:cNvPr>
          <p:cNvGrpSpPr/>
          <p:nvPr/>
        </p:nvGrpSpPr>
        <p:grpSpPr>
          <a:xfrm>
            <a:off x="9325148" y="5464029"/>
            <a:ext cx="1185830" cy="1008113"/>
            <a:chOff x="9685189" y="5464029"/>
            <a:chExt cx="1185830" cy="1008113"/>
          </a:xfrm>
        </p:grpSpPr>
        <p:sp>
          <p:nvSpPr>
            <p:cNvPr id="60" name="Triangle 59">
              <a:extLst>
                <a:ext uri="{FF2B5EF4-FFF2-40B4-BE49-F238E27FC236}">
                  <a16:creationId xmlns:a16="http://schemas.microsoft.com/office/drawing/2014/main" xmlns="" id="{D75CD144-8D77-4840-ACB0-048126969A37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4" name="Triangle 63">
              <a:extLst>
                <a:ext uri="{FF2B5EF4-FFF2-40B4-BE49-F238E27FC236}">
                  <a16:creationId xmlns:a16="http://schemas.microsoft.com/office/drawing/2014/main" xmlns="" id="{6E18A33B-A2E3-FC4D-ACDC-DAE063681B03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BCDB4C37-7181-CB49-81EC-EE87B1D850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7011" y="4096992"/>
            <a:ext cx="737697" cy="75063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113AC244-AAA8-F24E-89EC-BB740D3E81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61447" y="4083885"/>
            <a:ext cx="679925" cy="92073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34261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:a16="http://schemas.microsoft.com/office/drawing/2014/main" xmlns="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xmlns="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Herramienta para la mejora continua de la condición de riesgo: </a:t>
            </a:r>
          </a:p>
          <a:p>
            <a:endParaRPr lang="es-CL" sz="2000" b="1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FCA3EFCF-3314-D945-8CC5-025D0246587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9" name="object 5">
            <a:extLst>
              <a:ext uri="{FF2B5EF4-FFF2-40B4-BE49-F238E27FC236}">
                <a16:creationId xmlns:a16="http://schemas.microsoft.com/office/drawing/2014/main" xmlns="" id="{72BFA3AE-BAFC-E34A-A320-54DC2E67DBCD}"/>
              </a:ext>
            </a:extLst>
          </p:cNvPr>
          <p:cNvSpPr/>
          <p:nvPr/>
        </p:nvSpPr>
        <p:spPr>
          <a:xfrm>
            <a:off x="7336204" y="433249"/>
            <a:ext cx="4335879" cy="480043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7">
            <a:extLst>
              <a:ext uri="{FF2B5EF4-FFF2-40B4-BE49-F238E27FC236}">
                <a16:creationId xmlns:a16="http://schemas.microsoft.com/office/drawing/2014/main" xmlns="" id="{04E8A302-4D51-BE42-A816-6679D92AAF04}"/>
              </a:ext>
            </a:extLst>
          </p:cNvPr>
          <p:cNvSpPr/>
          <p:nvPr/>
        </p:nvSpPr>
        <p:spPr>
          <a:xfrm>
            <a:off x="4333394" y="3804581"/>
            <a:ext cx="4335879" cy="480043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5">
            <a:extLst>
              <a:ext uri="{FF2B5EF4-FFF2-40B4-BE49-F238E27FC236}">
                <a16:creationId xmlns:a16="http://schemas.microsoft.com/office/drawing/2014/main" xmlns="" id="{99D2731E-83C3-6C4D-ACD7-90BB95FBD099}"/>
              </a:ext>
            </a:extLst>
          </p:cNvPr>
          <p:cNvSpPr/>
          <p:nvPr/>
        </p:nvSpPr>
        <p:spPr>
          <a:xfrm>
            <a:off x="11477337" y="3790706"/>
            <a:ext cx="4335879" cy="480043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764835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:a16="http://schemas.microsoft.com/office/drawing/2014/main" xmlns="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xmlns="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Herramienta para la mejora continua de la condición de riesgo: </a:t>
            </a:r>
          </a:p>
          <a:p>
            <a:endParaRPr lang="es-CL" sz="2000" b="1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FCA3EFCF-3314-D945-8CC5-025D0246587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386F78E6-EA9A-BB44-AAB6-8EE593FD680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7" name="object 7">
            <a:extLst>
              <a:ext uri="{FF2B5EF4-FFF2-40B4-BE49-F238E27FC236}">
                <a16:creationId xmlns:a16="http://schemas.microsoft.com/office/drawing/2014/main" xmlns="" id="{B57EDBE9-B5F7-D744-96B6-4C19D401A46E}"/>
              </a:ext>
            </a:extLst>
          </p:cNvPr>
          <p:cNvSpPr/>
          <p:nvPr/>
        </p:nvSpPr>
        <p:spPr>
          <a:xfrm>
            <a:off x="4523770" y="2030576"/>
            <a:ext cx="5040000" cy="558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5">
            <a:extLst>
              <a:ext uri="{FF2B5EF4-FFF2-40B4-BE49-F238E27FC236}">
                <a16:creationId xmlns:a16="http://schemas.microsoft.com/office/drawing/2014/main" xmlns="" id="{C5C4F25F-7FED-5941-851D-701A718DB170}"/>
              </a:ext>
            </a:extLst>
          </p:cNvPr>
          <p:cNvSpPr/>
          <p:nvPr/>
        </p:nvSpPr>
        <p:spPr>
          <a:xfrm>
            <a:off x="10459332" y="2030576"/>
            <a:ext cx="5040000" cy="55800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446205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AE258375-5BCF-EC40-AC9D-7A081E94639F}"/>
              </a:ext>
            </a:extLst>
          </p:cNvPr>
          <p:cNvGrpSpPr/>
          <p:nvPr/>
        </p:nvGrpSpPr>
        <p:grpSpPr>
          <a:xfrm>
            <a:off x="10247452" y="3394285"/>
            <a:ext cx="5342392" cy="3501311"/>
            <a:chOff x="-4576573" y="4196793"/>
            <a:chExt cx="4320891" cy="2831837"/>
          </a:xfrm>
        </p:grpSpPr>
        <p:sp>
          <p:nvSpPr>
            <p:cNvPr id="42" name="Rectángulo redondeado 17">
              <a:extLst>
                <a:ext uri="{FF2B5EF4-FFF2-40B4-BE49-F238E27FC236}">
                  <a16:creationId xmlns:a16="http://schemas.microsoft.com/office/drawing/2014/main" xmlns="" id="{5B52CBB6-0C3A-9049-84B6-76CAFABFDECF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43" name="Rectángulo redondeado 18">
              <a:extLst>
                <a:ext uri="{FF2B5EF4-FFF2-40B4-BE49-F238E27FC236}">
                  <a16:creationId xmlns:a16="http://schemas.microsoft.com/office/drawing/2014/main" xmlns="" id="{0010BF70-C873-5149-8D6B-D856CFC5564D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50C9EED2-6190-5642-A6A7-404222F43101}"/>
              </a:ext>
            </a:extLst>
          </p:cNvPr>
          <p:cNvGrpSpPr/>
          <p:nvPr/>
        </p:nvGrpSpPr>
        <p:grpSpPr>
          <a:xfrm>
            <a:off x="4338718" y="3412682"/>
            <a:ext cx="5342392" cy="3501311"/>
            <a:chOff x="-4576573" y="4196793"/>
            <a:chExt cx="4320891" cy="2831837"/>
          </a:xfrm>
        </p:grpSpPr>
        <p:sp>
          <p:nvSpPr>
            <p:cNvPr id="33" name="Rectángulo redondeado 17">
              <a:extLst>
                <a:ext uri="{FF2B5EF4-FFF2-40B4-BE49-F238E27FC236}">
                  <a16:creationId xmlns:a16="http://schemas.microsoft.com/office/drawing/2014/main" xmlns="" id="{419D35A0-4C48-DB44-AD1A-0C5F1E227D8E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34" name="Rectángulo redondeado 18">
              <a:extLst>
                <a:ext uri="{FF2B5EF4-FFF2-40B4-BE49-F238E27FC236}">
                  <a16:creationId xmlns:a16="http://schemas.microsoft.com/office/drawing/2014/main" xmlns="" id="{CEED655D-36A5-9242-BACF-C5E5290B9912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:a16="http://schemas.microsoft.com/office/drawing/2014/main" xmlns="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xmlns="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xmlns="" id="{BB2E8559-B1B5-C542-BC70-C6000F8FB561}"/>
              </a:ext>
            </a:extLst>
          </p:cNvPr>
          <p:cNvSpPr/>
          <p:nvPr/>
        </p:nvSpPr>
        <p:spPr>
          <a:xfrm>
            <a:off x="4495189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4">
            <a:extLst>
              <a:ext uri="{FF2B5EF4-FFF2-40B4-BE49-F238E27FC236}">
                <a16:creationId xmlns:a16="http://schemas.microsoft.com/office/drawing/2014/main" xmlns="" id="{71D8A155-F16F-2345-9976-D0086AF7955B}"/>
              </a:ext>
            </a:extLst>
          </p:cNvPr>
          <p:cNvSpPr txBox="1"/>
          <p:nvPr/>
        </p:nvSpPr>
        <p:spPr>
          <a:xfrm>
            <a:off x="8606569" y="1856332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21" name="object 9">
            <a:extLst>
              <a:ext uri="{FF2B5EF4-FFF2-40B4-BE49-F238E27FC236}">
                <a16:creationId xmlns:a16="http://schemas.microsoft.com/office/drawing/2014/main" xmlns="" id="{CF07917E-19CA-7542-9AE8-947242AB3883}"/>
              </a:ext>
            </a:extLst>
          </p:cNvPr>
          <p:cNvSpPr txBox="1"/>
          <p:nvPr/>
        </p:nvSpPr>
        <p:spPr>
          <a:xfrm>
            <a:off x="5552729" y="4101066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24" name="object 12">
            <a:extLst>
              <a:ext uri="{FF2B5EF4-FFF2-40B4-BE49-F238E27FC236}">
                <a16:creationId xmlns:a16="http://schemas.microsoft.com/office/drawing/2014/main" xmlns="" id="{BD43B94F-88B3-DF4C-8D2A-BA790A43E303}"/>
              </a:ext>
            </a:extLst>
          </p:cNvPr>
          <p:cNvSpPr txBox="1"/>
          <p:nvPr/>
        </p:nvSpPr>
        <p:spPr>
          <a:xfrm>
            <a:off x="5552729" y="3612843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sp>
        <p:nvSpPr>
          <p:cNvPr id="27" name="object 15">
            <a:extLst>
              <a:ext uri="{FF2B5EF4-FFF2-40B4-BE49-F238E27FC236}">
                <a16:creationId xmlns:a16="http://schemas.microsoft.com/office/drawing/2014/main" xmlns="" id="{C5AE2462-5D35-B44D-90ED-35B215C8865C}"/>
              </a:ext>
            </a:extLst>
          </p:cNvPr>
          <p:cNvSpPr txBox="1"/>
          <p:nvPr/>
        </p:nvSpPr>
        <p:spPr>
          <a:xfrm>
            <a:off x="11564023" y="3646646"/>
            <a:ext cx="2709251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de la Salud</a:t>
            </a:r>
          </a:p>
        </p:txBody>
      </p:sp>
      <p:sp>
        <p:nvSpPr>
          <p:cNvPr id="30" name="object 18">
            <a:extLst>
              <a:ext uri="{FF2B5EF4-FFF2-40B4-BE49-F238E27FC236}">
                <a16:creationId xmlns:a16="http://schemas.microsoft.com/office/drawing/2014/main" xmlns="" id="{02B7750A-DA7A-D747-959A-F11C8BE667F4}"/>
              </a:ext>
            </a:extLst>
          </p:cNvPr>
          <p:cNvSpPr txBox="1"/>
          <p:nvPr/>
        </p:nvSpPr>
        <p:spPr>
          <a:xfrm>
            <a:off x="11646326" y="4083885"/>
            <a:ext cx="3402638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de la Salud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habilitación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educación Profesional</a:t>
            </a:r>
          </a:p>
        </p:txBody>
      </p:sp>
      <p:sp>
        <p:nvSpPr>
          <p:cNvPr id="31" name="object 19">
            <a:extLst>
              <a:ext uri="{FF2B5EF4-FFF2-40B4-BE49-F238E27FC236}">
                <a16:creationId xmlns:a16="http://schemas.microsoft.com/office/drawing/2014/main" xmlns="" id="{82A8DF4F-2C6B-1244-BB74-035B91CA895B}"/>
              </a:ext>
            </a:extLst>
          </p:cNvPr>
          <p:cNvSpPr txBox="1"/>
          <p:nvPr/>
        </p:nvSpPr>
        <p:spPr>
          <a:xfrm>
            <a:off x="4902061" y="7406333"/>
            <a:ext cx="10181015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/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  <a:spcBef>
                <a:spcPts val="440"/>
              </a:spcBef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BC3C953-36E9-834B-A916-13A1D161C6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7011" y="4096992"/>
            <a:ext cx="737697" cy="750639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xmlns="" id="{02F5711C-1E9C-5F4F-AE30-9E3CE02DA3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61447" y="4083885"/>
            <a:ext cx="679925" cy="920733"/>
          </a:xfrm>
          <a:prstGeom prst="rect">
            <a:avLst/>
          </a:prstGeom>
        </p:spPr>
      </p:pic>
      <p:sp>
        <p:nvSpPr>
          <p:cNvPr id="61" name="Triangle 60">
            <a:extLst>
              <a:ext uri="{FF2B5EF4-FFF2-40B4-BE49-F238E27FC236}">
                <a16:creationId xmlns:a16="http://schemas.microsoft.com/office/drawing/2014/main" xmlns="" id="{AC2F37E7-9ECA-9643-8CCC-29C5935B43D3}"/>
              </a:ext>
            </a:extLst>
          </p:cNvPr>
          <p:cNvSpPr/>
          <p:nvPr/>
        </p:nvSpPr>
        <p:spPr>
          <a:xfrm rot="10800000">
            <a:off x="12347014" y="2615157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xmlns="" id="{2BDA6CAA-FF43-3044-A164-1FC6F35D275A}"/>
              </a:ext>
            </a:extLst>
          </p:cNvPr>
          <p:cNvSpPr/>
          <p:nvPr/>
        </p:nvSpPr>
        <p:spPr>
          <a:xfrm rot="10800000">
            <a:off x="6532469" y="261335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B904247A-41D0-734F-9D12-B0FBF16A8EE7}"/>
              </a:ext>
            </a:extLst>
          </p:cNvPr>
          <p:cNvGrpSpPr/>
          <p:nvPr/>
        </p:nvGrpSpPr>
        <p:grpSpPr>
          <a:xfrm>
            <a:off x="9325148" y="5464029"/>
            <a:ext cx="1185830" cy="1008113"/>
            <a:chOff x="9685189" y="5464029"/>
            <a:chExt cx="1185830" cy="1008113"/>
          </a:xfrm>
        </p:grpSpPr>
        <p:sp>
          <p:nvSpPr>
            <p:cNvPr id="60" name="Triangle 59">
              <a:extLst>
                <a:ext uri="{FF2B5EF4-FFF2-40B4-BE49-F238E27FC236}">
                  <a16:creationId xmlns:a16="http://schemas.microsoft.com/office/drawing/2014/main" xmlns="" id="{D75CD144-8D77-4840-ACB0-048126969A37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4" name="Triangle 63">
              <a:extLst>
                <a:ext uri="{FF2B5EF4-FFF2-40B4-BE49-F238E27FC236}">
                  <a16:creationId xmlns:a16="http://schemas.microsoft.com/office/drawing/2014/main" xmlns="" id="{6E18A33B-A2E3-FC4D-ACDC-DAE063681B03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552428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AE258375-5BCF-EC40-AC9D-7A081E94639F}"/>
              </a:ext>
            </a:extLst>
          </p:cNvPr>
          <p:cNvGrpSpPr/>
          <p:nvPr/>
        </p:nvGrpSpPr>
        <p:grpSpPr>
          <a:xfrm>
            <a:off x="10247452" y="3394285"/>
            <a:ext cx="5342392" cy="3501311"/>
            <a:chOff x="-4576573" y="4196793"/>
            <a:chExt cx="4320891" cy="2831837"/>
          </a:xfrm>
        </p:grpSpPr>
        <p:sp>
          <p:nvSpPr>
            <p:cNvPr id="42" name="Rectángulo redondeado 17">
              <a:extLst>
                <a:ext uri="{FF2B5EF4-FFF2-40B4-BE49-F238E27FC236}">
                  <a16:creationId xmlns:a16="http://schemas.microsoft.com/office/drawing/2014/main" xmlns="" id="{5B52CBB6-0C3A-9049-84B6-76CAFABFDECF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43" name="Rectángulo redondeado 18">
              <a:extLst>
                <a:ext uri="{FF2B5EF4-FFF2-40B4-BE49-F238E27FC236}">
                  <a16:creationId xmlns:a16="http://schemas.microsoft.com/office/drawing/2014/main" xmlns="" id="{0010BF70-C873-5149-8D6B-D856CFC5564D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50C9EED2-6190-5642-A6A7-404222F43101}"/>
              </a:ext>
            </a:extLst>
          </p:cNvPr>
          <p:cNvGrpSpPr/>
          <p:nvPr/>
        </p:nvGrpSpPr>
        <p:grpSpPr>
          <a:xfrm>
            <a:off x="4338718" y="3412682"/>
            <a:ext cx="5342392" cy="3501311"/>
            <a:chOff x="-4576573" y="4196793"/>
            <a:chExt cx="4320891" cy="2831837"/>
          </a:xfrm>
        </p:grpSpPr>
        <p:sp>
          <p:nvSpPr>
            <p:cNvPr id="33" name="Rectángulo redondeado 17">
              <a:extLst>
                <a:ext uri="{FF2B5EF4-FFF2-40B4-BE49-F238E27FC236}">
                  <a16:creationId xmlns:a16="http://schemas.microsoft.com/office/drawing/2014/main" xmlns="" id="{419D35A0-4C48-DB44-AD1A-0C5F1E227D8E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34" name="Rectángulo redondeado 18">
              <a:extLst>
                <a:ext uri="{FF2B5EF4-FFF2-40B4-BE49-F238E27FC236}">
                  <a16:creationId xmlns:a16="http://schemas.microsoft.com/office/drawing/2014/main" xmlns="" id="{CEED655D-36A5-9242-BACF-C5E5290B9912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:a16="http://schemas.microsoft.com/office/drawing/2014/main" xmlns="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xmlns="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xmlns="" id="{BB2E8559-B1B5-C542-BC70-C6000F8FB561}"/>
              </a:ext>
            </a:extLst>
          </p:cNvPr>
          <p:cNvSpPr/>
          <p:nvPr/>
        </p:nvSpPr>
        <p:spPr>
          <a:xfrm>
            <a:off x="4495189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4">
            <a:extLst>
              <a:ext uri="{FF2B5EF4-FFF2-40B4-BE49-F238E27FC236}">
                <a16:creationId xmlns:a16="http://schemas.microsoft.com/office/drawing/2014/main" xmlns="" id="{71D8A155-F16F-2345-9976-D0086AF7955B}"/>
              </a:ext>
            </a:extLst>
          </p:cNvPr>
          <p:cNvSpPr txBox="1"/>
          <p:nvPr/>
        </p:nvSpPr>
        <p:spPr>
          <a:xfrm>
            <a:off x="8606569" y="1856332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21" name="object 9">
            <a:extLst>
              <a:ext uri="{FF2B5EF4-FFF2-40B4-BE49-F238E27FC236}">
                <a16:creationId xmlns:a16="http://schemas.microsoft.com/office/drawing/2014/main" xmlns="" id="{CF07917E-19CA-7542-9AE8-947242AB3883}"/>
              </a:ext>
            </a:extLst>
          </p:cNvPr>
          <p:cNvSpPr txBox="1"/>
          <p:nvPr/>
        </p:nvSpPr>
        <p:spPr>
          <a:xfrm>
            <a:off x="5552729" y="4101066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b="1" dirty="0">
                <a:solidFill>
                  <a:srgbClr val="0C662F"/>
                </a:solidFill>
                <a:latin typeface="ACHS Nueva Sans ExtraBold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24" name="object 12">
            <a:extLst>
              <a:ext uri="{FF2B5EF4-FFF2-40B4-BE49-F238E27FC236}">
                <a16:creationId xmlns:a16="http://schemas.microsoft.com/office/drawing/2014/main" xmlns="" id="{BD43B94F-88B3-DF4C-8D2A-BA790A43E303}"/>
              </a:ext>
            </a:extLst>
          </p:cNvPr>
          <p:cNvSpPr txBox="1"/>
          <p:nvPr/>
        </p:nvSpPr>
        <p:spPr>
          <a:xfrm>
            <a:off x="5552729" y="3612843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sp>
        <p:nvSpPr>
          <p:cNvPr id="27" name="object 15">
            <a:extLst>
              <a:ext uri="{FF2B5EF4-FFF2-40B4-BE49-F238E27FC236}">
                <a16:creationId xmlns:a16="http://schemas.microsoft.com/office/drawing/2014/main" xmlns="" id="{C5AE2462-5D35-B44D-90ED-35B215C8865C}"/>
              </a:ext>
            </a:extLst>
          </p:cNvPr>
          <p:cNvSpPr txBox="1"/>
          <p:nvPr/>
        </p:nvSpPr>
        <p:spPr>
          <a:xfrm>
            <a:off x="11564023" y="3646646"/>
            <a:ext cx="2709251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de la Salud</a:t>
            </a:r>
          </a:p>
        </p:txBody>
      </p:sp>
      <p:sp>
        <p:nvSpPr>
          <p:cNvPr id="30" name="object 18">
            <a:extLst>
              <a:ext uri="{FF2B5EF4-FFF2-40B4-BE49-F238E27FC236}">
                <a16:creationId xmlns:a16="http://schemas.microsoft.com/office/drawing/2014/main" xmlns="" id="{02B7750A-DA7A-D747-959A-F11C8BE667F4}"/>
              </a:ext>
            </a:extLst>
          </p:cNvPr>
          <p:cNvSpPr txBox="1"/>
          <p:nvPr/>
        </p:nvSpPr>
        <p:spPr>
          <a:xfrm>
            <a:off x="11646326" y="4083885"/>
            <a:ext cx="3402638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de la Salud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habilitación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educación Profesional</a:t>
            </a:r>
          </a:p>
        </p:txBody>
      </p:sp>
      <p:sp>
        <p:nvSpPr>
          <p:cNvPr id="31" name="object 19">
            <a:extLst>
              <a:ext uri="{FF2B5EF4-FFF2-40B4-BE49-F238E27FC236}">
                <a16:creationId xmlns:a16="http://schemas.microsoft.com/office/drawing/2014/main" xmlns="" id="{82A8DF4F-2C6B-1244-BB74-035B91CA895B}"/>
              </a:ext>
            </a:extLst>
          </p:cNvPr>
          <p:cNvSpPr txBox="1"/>
          <p:nvPr/>
        </p:nvSpPr>
        <p:spPr>
          <a:xfrm>
            <a:off x="4902061" y="7406333"/>
            <a:ext cx="10181015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/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  <a:spcBef>
                <a:spcPts val="440"/>
              </a:spcBef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1" name="Triangle 60">
            <a:extLst>
              <a:ext uri="{FF2B5EF4-FFF2-40B4-BE49-F238E27FC236}">
                <a16:creationId xmlns:a16="http://schemas.microsoft.com/office/drawing/2014/main" xmlns="" id="{AC2F37E7-9ECA-9643-8CCC-29C5935B43D3}"/>
              </a:ext>
            </a:extLst>
          </p:cNvPr>
          <p:cNvSpPr/>
          <p:nvPr/>
        </p:nvSpPr>
        <p:spPr>
          <a:xfrm rot="10800000">
            <a:off x="12347014" y="2615157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xmlns="" id="{2BDA6CAA-FF43-3044-A164-1FC6F35D275A}"/>
              </a:ext>
            </a:extLst>
          </p:cNvPr>
          <p:cNvSpPr/>
          <p:nvPr/>
        </p:nvSpPr>
        <p:spPr>
          <a:xfrm rot="10800000">
            <a:off x="6532469" y="261335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B904247A-41D0-734F-9D12-B0FBF16A8EE7}"/>
              </a:ext>
            </a:extLst>
          </p:cNvPr>
          <p:cNvGrpSpPr/>
          <p:nvPr/>
        </p:nvGrpSpPr>
        <p:grpSpPr>
          <a:xfrm>
            <a:off x="9325148" y="5464029"/>
            <a:ext cx="1185830" cy="1008113"/>
            <a:chOff x="9685189" y="5464029"/>
            <a:chExt cx="1185830" cy="1008113"/>
          </a:xfrm>
        </p:grpSpPr>
        <p:sp>
          <p:nvSpPr>
            <p:cNvPr id="60" name="Triangle 59">
              <a:extLst>
                <a:ext uri="{FF2B5EF4-FFF2-40B4-BE49-F238E27FC236}">
                  <a16:creationId xmlns:a16="http://schemas.microsoft.com/office/drawing/2014/main" xmlns="" id="{D75CD144-8D77-4840-ACB0-048126969A37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4" name="Triangle 63">
              <a:extLst>
                <a:ext uri="{FF2B5EF4-FFF2-40B4-BE49-F238E27FC236}">
                  <a16:creationId xmlns:a16="http://schemas.microsoft.com/office/drawing/2014/main" xmlns="" id="{6E18A33B-A2E3-FC4D-ACDC-DAE063681B03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FE0EEFC5-7B9F-2042-9A06-FD544C885C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7011" y="4096992"/>
            <a:ext cx="737697" cy="75063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0D94D442-2080-2D45-BC01-35F05A9E53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61447" y="4083885"/>
            <a:ext cx="679925" cy="92073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244092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:a16="http://schemas.microsoft.com/office/drawing/2014/main" xmlns="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xmlns="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  <a:p>
            <a:endParaRPr lang="es-CL" sz="2000" b="1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FCA3EFCF-3314-D945-8CC5-025D0246587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386F78E6-EA9A-BB44-AAB6-8EE593FD680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0" name="object 6">
            <a:extLst>
              <a:ext uri="{FF2B5EF4-FFF2-40B4-BE49-F238E27FC236}">
                <a16:creationId xmlns:a16="http://schemas.microsoft.com/office/drawing/2014/main" xmlns="" id="{17E31746-E798-8D4E-A60B-AFFA9CC2FFA3}"/>
              </a:ext>
            </a:extLst>
          </p:cNvPr>
          <p:cNvSpPr/>
          <p:nvPr/>
        </p:nvSpPr>
        <p:spPr>
          <a:xfrm>
            <a:off x="5868764" y="3636466"/>
            <a:ext cx="7632848" cy="482453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Rectángulo 1">
            <a:extLst>
              <a:ext uri="{FF2B5EF4-FFF2-40B4-BE49-F238E27FC236}">
                <a16:creationId xmlns:a16="http://schemas.microsoft.com/office/drawing/2014/main" xmlns="" id="{E17268D0-1603-4046-97FC-32232521D4C8}"/>
              </a:ext>
            </a:extLst>
          </p:cNvPr>
          <p:cNvSpPr/>
          <p:nvPr/>
        </p:nvSpPr>
        <p:spPr>
          <a:xfrm>
            <a:off x="4523771" y="1733521"/>
            <a:ext cx="991394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just">
              <a:lnSpc>
                <a:spcPct val="100000"/>
              </a:lnSpc>
            </a:pPr>
            <a:r>
              <a:rPr lang="es-CL" sz="2000" b="1" dirty="0">
                <a:solidFill>
                  <a:srgbClr val="15C047"/>
                </a:solidFill>
                <a:latin typeface="ACHS Nueva Serif" pitchFamily="2" charset="77"/>
                <a:cs typeface="Calibri" panose="020F0502020204030204" pitchFamily="34" charset="0"/>
              </a:rPr>
              <a:t>Estudio previo:</a:t>
            </a:r>
          </a:p>
          <a:p>
            <a:pPr marL="12700" algn="just">
              <a:lnSpc>
                <a:spcPct val="100000"/>
              </a:lnSpc>
            </a:pPr>
            <a:endParaRPr lang="es-CL" sz="2000" dirty="0">
              <a:latin typeface="ACHS Nueva Sans Medium" pitchFamily="2" charset="77"/>
              <a:cs typeface="Calibri" panose="020F0502020204030204" pitchFamily="34" charset="0"/>
            </a:endParaRPr>
          </a:p>
          <a:p>
            <a:pPr marL="12700" algn="just">
              <a:lnSpc>
                <a:spcPct val="100000"/>
              </a:lnSpc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La empresa debe levantar la información necesaria para las evaluaciones en su «Estudio Previo», esto se solicita como parte del sistema de gestión que PREXOR  establece que la empresa debe desarrollar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16219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AE258375-5BCF-EC40-AC9D-7A081E94639F}"/>
              </a:ext>
            </a:extLst>
          </p:cNvPr>
          <p:cNvGrpSpPr/>
          <p:nvPr/>
        </p:nvGrpSpPr>
        <p:grpSpPr>
          <a:xfrm>
            <a:off x="10247452" y="3394285"/>
            <a:ext cx="5342392" cy="3501311"/>
            <a:chOff x="-4576573" y="4196793"/>
            <a:chExt cx="4320891" cy="2831837"/>
          </a:xfrm>
        </p:grpSpPr>
        <p:sp>
          <p:nvSpPr>
            <p:cNvPr id="42" name="Rectángulo redondeado 17">
              <a:extLst>
                <a:ext uri="{FF2B5EF4-FFF2-40B4-BE49-F238E27FC236}">
                  <a16:creationId xmlns:a16="http://schemas.microsoft.com/office/drawing/2014/main" xmlns="" id="{5B52CBB6-0C3A-9049-84B6-76CAFABFDECF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43" name="Rectángulo redondeado 18">
              <a:extLst>
                <a:ext uri="{FF2B5EF4-FFF2-40B4-BE49-F238E27FC236}">
                  <a16:creationId xmlns:a16="http://schemas.microsoft.com/office/drawing/2014/main" xmlns="" id="{0010BF70-C873-5149-8D6B-D856CFC5564D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50C9EED2-6190-5642-A6A7-404222F43101}"/>
              </a:ext>
            </a:extLst>
          </p:cNvPr>
          <p:cNvGrpSpPr/>
          <p:nvPr/>
        </p:nvGrpSpPr>
        <p:grpSpPr>
          <a:xfrm>
            <a:off x="4338718" y="3412682"/>
            <a:ext cx="5342392" cy="3501311"/>
            <a:chOff x="-4576573" y="4196793"/>
            <a:chExt cx="4320891" cy="2831837"/>
          </a:xfrm>
        </p:grpSpPr>
        <p:sp>
          <p:nvSpPr>
            <p:cNvPr id="33" name="Rectángulo redondeado 17">
              <a:extLst>
                <a:ext uri="{FF2B5EF4-FFF2-40B4-BE49-F238E27FC236}">
                  <a16:creationId xmlns:a16="http://schemas.microsoft.com/office/drawing/2014/main" xmlns="" id="{419D35A0-4C48-DB44-AD1A-0C5F1E227D8E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34" name="Rectángulo redondeado 18">
              <a:extLst>
                <a:ext uri="{FF2B5EF4-FFF2-40B4-BE49-F238E27FC236}">
                  <a16:creationId xmlns:a16="http://schemas.microsoft.com/office/drawing/2014/main" xmlns="" id="{CEED655D-36A5-9242-BACF-C5E5290B9912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:a16="http://schemas.microsoft.com/office/drawing/2014/main" xmlns="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xmlns="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xmlns="" id="{BB2E8559-B1B5-C542-BC70-C6000F8FB561}"/>
              </a:ext>
            </a:extLst>
          </p:cNvPr>
          <p:cNvSpPr/>
          <p:nvPr/>
        </p:nvSpPr>
        <p:spPr>
          <a:xfrm>
            <a:off x="4495189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4">
            <a:extLst>
              <a:ext uri="{FF2B5EF4-FFF2-40B4-BE49-F238E27FC236}">
                <a16:creationId xmlns:a16="http://schemas.microsoft.com/office/drawing/2014/main" xmlns="" id="{71D8A155-F16F-2345-9976-D0086AF7955B}"/>
              </a:ext>
            </a:extLst>
          </p:cNvPr>
          <p:cNvSpPr txBox="1"/>
          <p:nvPr/>
        </p:nvSpPr>
        <p:spPr>
          <a:xfrm>
            <a:off x="8606569" y="1856332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21" name="object 9">
            <a:extLst>
              <a:ext uri="{FF2B5EF4-FFF2-40B4-BE49-F238E27FC236}">
                <a16:creationId xmlns:a16="http://schemas.microsoft.com/office/drawing/2014/main" xmlns="" id="{CF07917E-19CA-7542-9AE8-947242AB3883}"/>
              </a:ext>
            </a:extLst>
          </p:cNvPr>
          <p:cNvSpPr txBox="1"/>
          <p:nvPr/>
        </p:nvSpPr>
        <p:spPr>
          <a:xfrm>
            <a:off x="5552729" y="4101066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b="1" dirty="0">
                <a:solidFill>
                  <a:srgbClr val="0C662F"/>
                </a:solidFill>
                <a:latin typeface="ACHS Nueva Sans ExtraBold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24" name="object 12">
            <a:extLst>
              <a:ext uri="{FF2B5EF4-FFF2-40B4-BE49-F238E27FC236}">
                <a16:creationId xmlns:a16="http://schemas.microsoft.com/office/drawing/2014/main" xmlns="" id="{BD43B94F-88B3-DF4C-8D2A-BA790A43E303}"/>
              </a:ext>
            </a:extLst>
          </p:cNvPr>
          <p:cNvSpPr txBox="1"/>
          <p:nvPr/>
        </p:nvSpPr>
        <p:spPr>
          <a:xfrm>
            <a:off x="5552729" y="3612843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sp>
        <p:nvSpPr>
          <p:cNvPr id="27" name="object 15">
            <a:extLst>
              <a:ext uri="{FF2B5EF4-FFF2-40B4-BE49-F238E27FC236}">
                <a16:creationId xmlns:a16="http://schemas.microsoft.com/office/drawing/2014/main" xmlns="" id="{C5AE2462-5D35-B44D-90ED-35B215C8865C}"/>
              </a:ext>
            </a:extLst>
          </p:cNvPr>
          <p:cNvSpPr txBox="1"/>
          <p:nvPr/>
        </p:nvSpPr>
        <p:spPr>
          <a:xfrm>
            <a:off x="11564023" y="3646646"/>
            <a:ext cx="2709251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de la Salud</a:t>
            </a:r>
          </a:p>
        </p:txBody>
      </p:sp>
      <p:sp>
        <p:nvSpPr>
          <p:cNvPr id="30" name="object 18">
            <a:extLst>
              <a:ext uri="{FF2B5EF4-FFF2-40B4-BE49-F238E27FC236}">
                <a16:creationId xmlns:a16="http://schemas.microsoft.com/office/drawing/2014/main" xmlns="" id="{02B7750A-DA7A-D747-959A-F11C8BE667F4}"/>
              </a:ext>
            </a:extLst>
          </p:cNvPr>
          <p:cNvSpPr txBox="1"/>
          <p:nvPr/>
        </p:nvSpPr>
        <p:spPr>
          <a:xfrm>
            <a:off x="11646326" y="4083885"/>
            <a:ext cx="3402638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de la Salud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habilitación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educación Profesional</a:t>
            </a:r>
          </a:p>
        </p:txBody>
      </p:sp>
      <p:sp>
        <p:nvSpPr>
          <p:cNvPr id="31" name="object 19">
            <a:extLst>
              <a:ext uri="{FF2B5EF4-FFF2-40B4-BE49-F238E27FC236}">
                <a16:creationId xmlns:a16="http://schemas.microsoft.com/office/drawing/2014/main" xmlns="" id="{82A8DF4F-2C6B-1244-BB74-035B91CA895B}"/>
              </a:ext>
            </a:extLst>
          </p:cNvPr>
          <p:cNvSpPr txBox="1"/>
          <p:nvPr/>
        </p:nvSpPr>
        <p:spPr>
          <a:xfrm>
            <a:off x="4902061" y="7406333"/>
            <a:ext cx="10181015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/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  <a:spcBef>
                <a:spcPts val="440"/>
              </a:spcBef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1" name="Triangle 60">
            <a:extLst>
              <a:ext uri="{FF2B5EF4-FFF2-40B4-BE49-F238E27FC236}">
                <a16:creationId xmlns:a16="http://schemas.microsoft.com/office/drawing/2014/main" xmlns="" id="{AC2F37E7-9ECA-9643-8CCC-29C5935B43D3}"/>
              </a:ext>
            </a:extLst>
          </p:cNvPr>
          <p:cNvSpPr/>
          <p:nvPr/>
        </p:nvSpPr>
        <p:spPr>
          <a:xfrm rot="10800000">
            <a:off x="12347014" y="2615157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xmlns="" id="{2BDA6CAA-FF43-3044-A164-1FC6F35D275A}"/>
              </a:ext>
            </a:extLst>
          </p:cNvPr>
          <p:cNvSpPr/>
          <p:nvPr/>
        </p:nvSpPr>
        <p:spPr>
          <a:xfrm rot="10800000">
            <a:off x="6532469" y="261335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B904247A-41D0-734F-9D12-B0FBF16A8EE7}"/>
              </a:ext>
            </a:extLst>
          </p:cNvPr>
          <p:cNvGrpSpPr/>
          <p:nvPr/>
        </p:nvGrpSpPr>
        <p:grpSpPr>
          <a:xfrm>
            <a:off x="9325148" y="5464029"/>
            <a:ext cx="1185830" cy="1008113"/>
            <a:chOff x="9685189" y="5464029"/>
            <a:chExt cx="1185830" cy="1008113"/>
          </a:xfrm>
        </p:grpSpPr>
        <p:sp>
          <p:nvSpPr>
            <p:cNvPr id="60" name="Triangle 59">
              <a:extLst>
                <a:ext uri="{FF2B5EF4-FFF2-40B4-BE49-F238E27FC236}">
                  <a16:creationId xmlns:a16="http://schemas.microsoft.com/office/drawing/2014/main" xmlns="" id="{D75CD144-8D77-4840-ACB0-048126969A37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4" name="Triangle 63">
              <a:extLst>
                <a:ext uri="{FF2B5EF4-FFF2-40B4-BE49-F238E27FC236}">
                  <a16:creationId xmlns:a16="http://schemas.microsoft.com/office/drawing/2014/main" xmlns="" id="{6E18A33B-A2E3-FC4D-ACDC-DAE063681B03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08E079CC-0D0C-DE44-8E63-19183305CC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7011" y="4096992"/>
            <a:ext cx="737697" cy="75063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43845625-1B31-7649-97A9-53F41B6451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61447" y="4083885"/>
            <a:ext cx="679925" cy="92073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568422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:a16="http://schemas.microsoft.com/office/drawing/2014/main" xmlns="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xmlns="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  <a:p>
            <a:endParaRPr lang="es-CL" sz="2000" b="1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1CDCF3A-7247-7544-8B08-750AE2F6DA52}"/>
              </a:ext>
            </a:extLst>
          </p:cNvPr>
          <p:cNvSpPr txBox="1"/>
          <p:nvPr/>
        </p:nvSpPr>
        <p:spPr>
          <a:xfrm>
            <a:off x="5035698" y="2942358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FCA3EFCF-3314-D945-8CC5-025D0246587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386F78E6-EA9A-BB44-AAB6-8EE593FD680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3703DD3C-CA6B-E648-A947-B8F83772F9A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5" name="object 4">
            <a:extLst>
              <a:ext uri="{FF2B5EF4-FFF2-40B4-BE49-F238E27FC236}">
                <a16:creationId xmlns:a16="http://schemas.microsoft.com/office/drawing/2014/main" xmlns="" id="{77F2649F-DB05-5540-A268-5611B59B2CA7}"/>
              </a:ext>
            </a:extLst>
          </p:cNvPr>
          <p:cNvSpPr txBox="1"/>
          <p:nvPr/>
        </p:nvSpPr>
        <p:spPr>
          <a:xfrm>
            <a:off x="8173356" y="1943480"/>
            <a:ext cx="302400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400" b="1" spc="-55" dirty="0">
                <a:solidFill>
                  <a:srgbClr val="FFFFFF"/>
                </a:solidFill>
                <a:latin typeface="Trebuchet MS"/>
                <a:cs typeface="Trebuchet MS"/>
              </a:rPr>
              <a:t>SISTEMA </a:t>
            </a:r>
            <a:r>
              <a:rPr sz="2400" b="1" spc="-85" dirty="0">
                <a:solidFill>
                  <a:srgbClr val="FFFFFF"/>
                </a:solidFill>
                <a:latin typeface="Trebuchet MS"/>
                <a:cs typeface="Trebuchet MS"/>
              </a:rPr>
              <a:t>DE</a:t>
            </a:r>
            <a:r>
              <a:rPr sz="2400" b="1" spc="-28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2400" b="1" spc="-90" dirty="0">
                <a:solidFill>
                  <a:srgbClr val="FFFFFF"/>
                </a:solidFill>
                <a:latin typeface="Trebuchet MS"/>
                <a:cs typeface="Trebuchet MS"/>
              </a:rPr>
              <a:t>GESTIÓN</a:t>
            </a:r>
            <a:endParaRPr sz="2400" dirty="0">
              <a:latin typeface="Trebuchet MS"/>
              <a:cs typeface="Trebuchet MS"/>
            </a:endParaRPr>
          </a:p>
        </p:txBody>
      </p:sp>
      <p:sp>
        <p:nvSpPr>
          <p:cNvPr id="46" name="object 19">
            <a:extLst>
              <a:ext uri="{FF2B5EF4-FFF2-40B4-BE49-F238E27FC236}">
                <a16:creationId xmlns:a16="http://schemas.microsoft.com/office/drawing/2014/main" xmlns="" id="{51F46BB3-C23B-B843-AEDD-6F437CD992B6}"/>
              </a:ext>
            </a:extLst>
          </p:cNvPr>
          <p:cNvSpPr/>
          <p:nvPr/>
        </p:nvSpPr>
        <p:spPr>
          <a:xfrm>
            <a:off x="11150236" y="2413095"/>
            <a:ext cx="3719528" cy="50008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3">
            <a:extLst>
              <a:ext uri="{FF2B5EF4-FFF2-40B4-BE49-F238E27FC236}">
                <a16:creationId xmlns:a16="http://schemas.microsoft.com/office/drawing/2014/main" xmlns="" id="{7AA5593B-64C0-7F46-B487-57319F8F12FE}"/>
              </a:ext>
            </a:extLst>
          </p:cNvPr>
          <p:cNvSpPr/>
          <p:nvPr/>
        </p:nvSpPr>
        <p:spPr>
          <a:xfrm>
            <a:off x="4307052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4">
            <a:extLst>
              <a:ext uri="{FF2B5EF4-FFF2-40B4-BE49-F238E27FC236}">
                <a16:creationId xmlns:a16="http://schemas.microsoft.com/office/drawing/2014/main" xmlns="" id="{4415FD1F-A043-F849-BB65-23EBC7E6A740}"/>
              </a:ext>
            </a:extLst>
          </p:cNvPr>
          <p:cNvSpPr txBox="1"/>
          <p:nvPr/>
        </p:nvSpPr>
        <p:spPr>
          <a:xfrm>
            <a:off x="8451067" y="1856021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58" name="object 19">
            <a:extLst>
              <a:ext uri="{FF2B5EF4-FFF2-40B4-BE49-F238E27FC236}">
                <a16:creationId xmlns:a16="http://schemas.microsoft.com/office/drawing/2014/main" xmlns="" id="{DD82A6C1-90D4-6844-ABD4-A617DB840B39}"/>
              </a:ext>
            </a:extLst>
          </p:cNvPr>
          <p:cNvSpPr txBox="1"/>
          <p:nvPr/>
        </p:nvSpPr>
        <p:spPr>
          <a:xfrm>
            <a:off x="4356596" y="7380882"/>
            <a:ext cx="10513168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>
                <a:alpha val="0"/>
              </a:srgbClr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60" name="Triangle 59">
            <a:extLst>
              <a:ext uri="{FF2B5EF4-FFF2-40B4-BE49-F238E27FC236}">
                <a16:creationId xmlns:a16="http://schemas.microsoft.com/office/drawing/2014/main" xmlns="" id="{87E5E7BE-0BD8-5346-8808-A1E4BF11B0A8}"/>
              </a:ext>
            </a:extLst>
          </p:cNvPr>
          <p:cNvSpPr/>
          <p:nvPr/>
        </p:nvSpPr>
        <p:spPr>
          <a:xfrm rot="10800000">
            <a:off x="6156560" y="264413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2C4313F1-BBD0-714B-9061-0F8E76BCD6C5}"/>
              </a:ext>
            </a:extLst>
          </p:cNvPr>
          <p:cNvGrpSpPr/>
          <p:nvPr/>
        </p:nvGrpSpPr>
        <p:grpSpPr>
          <a:xfrm>
            <a:off x="9783719" y="4546866"/>
            <a:ext cx="1185830" cy="1008113"/>
            <a:chOff x="9685189" y="5464029"/>
            <a:chExt cx="1185830" cy="1008113"/>
          </a:xfrm>
        </p:grpSpPr>
        <p:sp>
          <p:nvSpPr>
            <p:cNvPr id="62" name="Triangle 61">
              <a:extLst>
                <a:ext uri="{FF2B5EF4-FFF2-40B4-BE49-F238E27FC236}">
                  <a16:creationId xmlns:a16="http://schemas.microsoft.com/office/drawing/2014/main" xmlns="" id="{4F15C657-5F6C-7D42-82F5-05B8C26617DD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3" name="Triangle 62">
              <a:extLst>
                <a:ext uri="{FF2B5EF4-FFF2-40B4-BE49-F238E27FC236}">
                  <a16:creationId xmlns:a16="http://schemas.microsoft.com/office/drawing/2014/main" xmlns="" id="{020EB5C7-E14F-6B46-9C64-E18AEF3C2426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xmlns="" id="{0690111A-9B21-C243-A8C2-B46A7BBE21BB}"/>
              </a:ext>
            </a:extLst>
          </p:cNvPr>
          <p:cNvGrpSpPr/>
          <p:nvPr/>
        </p:nvGrpSpPr>
        <p:grpSpPr>
          <a:xfrm>
            <a:off x="4270788" y="3422445"/>
            <a:ext cx="5342392" cy="3501311"/>
            <a:chOff x="-4576573" y="4196793"/>
            <a:chExt cx="4320891" cy="2831837"/>
          </a:xfrm>
        </p:grpSpPr>
        <p:sp>
          <p:nvSpPr>
            <p:cNvPr id="66" name="Rectángulo redondeado 17">
              <a:extLst>
                <a:ext uri="{FF2B5EF4-FFF2-40B4-BE49-F238E27FC236}">
                  <a16:creationId xmlns:a16="http://schemas.microsoft.com/office/drawing/2014/main" xmlns="" id="{479C90FE-0D76-9C45-B530-86D9AAD5F622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67" name="Rectángulo redondeado 18">
              <a:extLst>
                <a:ext uri="{FF2B5EF4-FFF2-40B4-BE49-F238E27FC236}">
                  <a16:creationId xmlns:a16="http://schemas.microsoft.com/office/drawing/2014/main" xmlns="" id="{4E676180-467D-C04B-95E1-2B35FD982F06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68" name="object 9">
            <a:extLst>
              <a:ext uri="{FF2B5EF4-FFF2-40B4-BE49-F238E27FC236}">
                <a16:creationId xmlns:a16="http://schemas.microsoft.com/office/drawing/2014/main" xmlns="" id="{D5B30C56-48E1-9144-9685-DCD084A8DDAC}"/>
              </a:ext>
            </a:extLst>
          </p:cNvPr>
          <p:cNvSpPr txBox="1"/>
          <p:nvPr/>
        </p:nvSpPr>
        <p:spPr>
          <a:xfrm>
            <a:off x="5484799" y="4110829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b="1" dirty="0">
                <a:solidFill>
                  <a:srgbClr val="0C662F"/>
                </a:solidFill>
                <a:latin typeface="ACHS Nueva Sans ExtraBold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69" name="object 12">
            <a:extLst>
              <a:ext uri="{FF2B5EF4-FFF2-40B4-BE49-F238E27FC236}">
                <a16:creationId xmlns:a16="http://schemas.microsoft.com/office/drawing/2014/main" xmlns="" id="{9CCBA925-BF67-9A46-B453-653FA2BFCD64}"/>
              </a:ext>
            </a:extLst>
          </p:cNvPr>
          <p:cNvSpPr txBox="1"/>
          <p:nvPr/>
        </p:nvSpPr>
        <p:spPr>
          <a:xfrm>
            <a:off x="5484799" y="3622606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98F9A289-EBC7-9C47-97F5-72882B2EA6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0612" y="4096992"/>
            <a:ext cx="737697" cy="7506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68996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>
            <a:off x="1" y="0"/>
            <a:ext cx="16202024" cy="9001124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4BF9E4AE-EBFA-CD4E-8031-B0074AE1B7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6259" y="3935390"/>
            <a:ext cx="2022665" cy="1237395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:a16="http://schemas.microsoft.com/office/drawing/2014/main" xmlns="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27980" y="652049"/>
            <a:ext cx="6182408" cy="610116"/>
          </a:xfrm>
        </p:spPr>
        <p:txBody>
          <a:bodyPr>
            <a:norm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s de </a:t>
            </a:r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comenza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1BA209D0-CE6A-FC4C-AE54-9254B3EA58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188" y="2592770"/>
            <a:ext cx="3887592" cy="388759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B3044ED9-1EFF-8F49-9DF4-EC32041C1F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00522" y="2592770"/>
            <a:ext cx="3780000" cy="3780000"/>
          </a:xfrm>
          <a:prstGeom prst="rect">
            <a:avLst/>
          </a:prstGeom>
        </p:spPr>
      </p:pic>
      <p:sp>
        <p:nvSpPr>
          <p:cNvPr id="12" name="Marcador de texto 23">
            <a:extLst>
              <a:ext uri="{FF2B5EF4-FFF2-40B4-BE49-F238E27FC236}">
                <a16:creationId xmlns:a16="http://schemas.microsoft.com/office/drawing/2014/main" xmlns="" id="{F995037F-8C82-8145-986B-A703EF42E786}"/>
              </a:ext>
            </a:extLst>
          </p:cNvPr>
          <p:cNvSpPr txBox="1">
            <a:spLocks/>
          </p:cNvSpPr>
          <p:nvPr/>
        </p:nvSpPr>
        <p:spPr>
          <a:xfrm>
            <a:off x="741003" y="2990405"/>
            <a:ext cx="1574533" cy="1153690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598678">
              <a:spcBef>
                <a:spcPts val="2952"/>
              </a:spcBef>
              <a:buNone/>
              <a:defRPr/>
            </a:pPr>
            <a:r>
              <a:rPr lang="es-CL" sz="5250" b="1" dirty="0">
                <a:solidFill>
                  <a:srgbClr val="004C14"/>
                </a:solidFill>
                <a:latin typeface="ACHS Nueva Serif" pitchFamily="2" charset="77"/>
              </a:rPr>
              <a:t>01</a:t>
            </a:r>
          </a:p>
        </p:txBody>
      </p:sp>
      <p:sp>
        <p:nvSpPr>
          <p:cNvPr id="13" name="Marcador de texto 23">
            <a:extLst>
              <a:ext uri="{FF2B5EF4-FFF2-40B4-BE49-F238E27FC236}">
                <a16:creationId xmlns:a16="http://schemas.microsoft.com/office/drawing/2014/main" xmlns="" id="{062B073A-45BE-1140-9550-7E2EA827FA30}"/>
              </a:ext>
            </a:extLst>
          </p:cNvPr>
          <p:cNvSpPr txBox="1">
            <a:spLocks/>
          </p:cNvSpPr>
          <p:nvPr/>
        </p:nvSpPr>
        <p:spPr>
          <a:xfrm>
            <a:off x="4720994" y="2990405"/>
            <a:ext cx="1574533" cy="1153690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598678">
              <a:spcBef>
                <a:spcPts val="2952"/>
              </a:spcBef>
              <a:buNone/>
              <a:defRPr/>
            </a:pPr>
            <a:r>
              <a:rPr lang="es-CL" sz="5250" b="1" dirty="0">
                <a:solidFill>
                  <a:srgbClr val="004C14"/>
                </a:solidFill>
                <a:latin typeface="ACHS Nueva Serif" pitchFamily="2" charset="77"/>
              </a:rPr>
              <a:t>02</a:t>
            </a:r>
          </a:p>
        </p:txBody>
      </p:sp>
      <p:sp>
        <p:nvSpPr>
          <p:cNvPr id="14" name="Marcador de texto 23">
            <a:extLst>
              <a:ext uri="{FF2B5EF4-FFF2-40B4-BE49-F238E27FC236}">
                <a16:creationId xmlns:a16="http://schemas.microsoft.com/office/drawing/2014/main" xmlns="" id="{CD1F91C4-5761-A442-8AEE-1721141ACAC5}"/>
              </a:ext>
            </a:extLst>
          </p:cNvPr>
          <p:cNvSpPr txBox="1">
            <a:spLocks/>
          </p:cNvSpPr>
          <p:nvPr/>
        </p:nvSpPr>
        <p:spPr>
          <a:xfrm>
            <a:off x="8297038" y="2990405"/>
            <a:ext cx="1574533" cy="1153690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598678">
              <a:spcBef>
                <a:spcPts val="2952"/>
              </a:spcBef>
              <a:buNone/>
              <a:defRPr/>
            </a:pPr>
            <a:r>
              <a:rPr lang="es-CL" sz="5250" b="1" dirty="0">
                <a:solidFill>
                  <a:srgbClr val="004C14"/>
                </a:solidFill>
                <a:latin typeface="ACHS Nueva Serif" pitchFamily="2" charset="77"/>
              </a:rPr>
              <a:t>03</a:t>
            </a:r>
          </a:p>
        </p:txBody>
      </p:sp>
      <p:sp>
        <p:nvSpPr>
          <p:cNvPr id="15" name="Marcador de texto 23">
            <a:extLst>
              <a:ext uri="{FF2B5EF4-FFF2-40B4-BE49-F238E27FC236}">
                <a16:creationId xmlns:a16="http://schemas.microsoft.com/office/drawing/2014/main" xmlns="" id="{65D5694B-BE79-094A-99E2-A439F80AD075}"/>
              </a:ext>
            </a:extLst>
          </p:cNvPr>
          <p:cNvSpPr txBox="1">
            <a:spLocks/>
          </p:cNvSpPr>
          <p:nvPr/>
        </p:nvSpPr>
        <p:spPr>
          <a:xfrm>
            <a:off x="11489762" y="2990405"/>
            <a:ext cx="1574533" cy="1153690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598678">
              <a:spcBef>
                <a:spcPts val="2952"/>
              </a:spcBef>
              <a:buNone/>
              <a:defRPr/>
            </a:pPr>
            <a:r>
              <a:rPr lang="es-CL" sz="5250" b="1" dirty="0">
                <a:solidFill>
                  <a:srgbClr val="004C14"/>
                </a:solidFill>
                <a:latin typeface="ACHS Nueva Serif" pitchFamily="2" charset="77"/>
              </a:rPr>
              <a:t>04</a:t>
            </a:r>
          </a:p>
        </p:txBody>
      </p:sp>
      <p:sp>
        <p:nvSpPr>
          <p:cNvPr id="16" name="Marcador de texto 35">
            <a:extLst>
              <a:ext uri="{FF2B5EF4-FFF2-40B4-BE49-F238E27FC236}">
                <a16:creationId xmlns:a16="http://schemas.microsoft.com/office/drawing/2014/main" xmlns="" id="{D3578775-F741-8A48-834E-62EEB39D5601}"/>
              </a:ext>
            </a:extLst>
          </p:cNvPr>
          <p:cNvSpPr txBox="1">
            <a:spLocks/>
          </p:cNvSpPr>
          <p:nvPr/>
        </p:nvSpPr>
        <p:spPr>
          <a:xfrm>
            <a:off x="5137550" y="5744381"/>
            <a:ext cx="2310209" cy="2052048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2100" b="1" dirty="0">
                <a:solidFill>
                  <a:srgbClr val="106737"/>
                </a:solidFill>
                <a:latin typeface="ACHS Nueva Sans SemiBold" pitchFamily="2" charset="77"/>
              </a:rPr>
              <a:t>Presentación del facilitador</a:t>
            </a:r>
          </a:p>
        </p:txBody>
      </p:sp>
      <p:sp>
        <p:nvSpPr>
          <p:cNvPr id="17" name="Marcador de texto 36">
            <a:extLst>
              <a:ext uri="{FF2B5EF4-FFF2-40B4-BE49-F238E27FC236}">
                <a16:creationId xmlns:a16="http://schemas.microsoft.com/office/drawing/2014/main" xmlns="" id="{161F0445-6E8D-C848-8725-22D4A995E04D}"/>
              </a:ext>
            </a:extLst>
          </p:cNvPr>
          <p:cNvSpPr txBox="1">
            <a:spLocks/>
          </p:cNvSpPr>
          <p:nvPr/>
        </p:nvSpPr>
        <p:spPr>
          <a:xfrm>
            <a:off x="8833554" y="5744381"/>
            <a:ext cx="2507526" cy="2052048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2100" b="1" dirty="0">
                <a:solidFill>
                  <a:srgbClr val="106737"/>
                </a:solidFill>
                <a:latin typeface="ACHS Nueva Sans SemiBold" pitchFamily="2" charset="77"/>
              </a:rPr>
              <a:t>Expectativas de los participantes</a:t>
            </a:r>
          </a:p>
        </p:txBody>
      </p:sp>
      <p:sp>
        <p:nvSpPr>
          <p:cNvPr id="18" name="Marcador de texto 37">
            <a:extLst>
              <a:ext uri="{FF2B5EF4-FFF2-40B4-BE49-F238E27FC236}">
                <a16:creationId xmlns:a16="http://schemas.microsoft.com/office/drawing/2014/main" xmlns="" id="{8AEAC636-A194-374B-88EB-645331097F64}"/>
              </a:ext>
            </a:extLst>
          </p:cNvPr>
          <p:cNvSpPr txBox="1">
            <a:spLocks/>
          </p:cNvSpPr>
          <p:nvPr/>
        </p:nvSpPr>
        <p:spPr>
          <a:xfrm>
            <a:off x="12246419" y="5744381"/>
            <a:ext cx="2169312" cy="2052048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2100" b="1" dirty="0">
                <a:solidFill>
                  <a:srgbClr val="106737"/>
                </a:solidFill>
                <a:latin typeface="ACHS Nueva Sans SemiBold" pitchFamily="2" charset="77"/>
              </a:rPr>
              <a:t>Presentación de la actividad</a:t>
            </a:r>
          </a:p>
        </p:txBody>
      </p:sp>
      <p:sp>
        <p:nvSpPr>
          <p:cNvPr id="19" name="Marcador de texto 13">
            <a:extLst>
              <a:ext uri="{FF2B5EF4-FFF2-40B4-BE49-F238E27FC236}">
                <a16:creationId xmlns:a16="http://schemas.microsoft.com/office/drawing/2014/main" xmlns="" id="{98BF1A31-4B29-2248-A299-723AA83920FE}"/>
              </a:ext>
            </a:extLst>
          </p:cNvPr>
          <p:cNvSpPr txBox="1">
            <a:spLocks/>
          </p:cNvSpPr>
          <p:nvPr/>
        </p:nvSpPr>
        <p:spPr>
          <a:xfrm>
            <a:off x="1377240" y="5744381"/>
            <a:ext cx="2507526" cy="2052048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2100" b="1" dirty="0">
                <a:solidFill>
                  <a:srgbClr val="106737"/>
                </a:solidFill>
                <a:latin typeface="ACHS Nueva Sans SemiBold" pitchFamily="2" charset="77"/>
              </a:rPr>
              <a:t>Bienvenida</a:t>
            </a:r>
          </a:p>
        </p:txBody>
      </p:sp>
      <p:pic>
        <p:nvPicPr>
          <p:cNvPr id="25" name="Picture 42">
            <a:extLst>
              <a:ext uri="{FF2B5EF4-FFF2-40B4-BE49-F238E27FC236}">
                <a16:creationId xmlns:a16="http://schemas.microsoft.com/office/drawing/2014/main" xmlns="" id="{95B8E1B9-65AF-0C4A-8387-01CD7FDA29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85861" y="3821178"/>
            <a:ext cx="966166" cy="13632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449090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bject 13">
            <a:extLst>
              <a:ext uri="{FF2B5EF4-FFF2-40B4-BE49-F238E27FC236}">
                <a16:creationId xmlns:a16="http://schemas.microsoft.com/office/drawing/2014/main" xmlns="" id="{68FED852-8136-1A42-BF6D-E0DC40E19133}"/>
              </a:ext>
            </a:extLst>
          </p:cNvPr>
          <p:cNvSpPr/>
          <p:nvPr/>
        </p:nvSpPr>
        <p:spPr>
          <a:xfrm>
            <a:off x="12401005" y="6223774"/>
            <a:ext cx="3600000" cy="2002155"/>
          </a:xfrm>
          <a:custGeom>
            <a:avLst/>
            <a:gdLst/>
            <a:ahLst/>
            <a:cxnLst/>
            <a:rect l="l" t="t" r="r" b="b"/>
            <a:pathLst>
              <a:path w="2678429" h="2002154">
                <a:moveTo>
                  <a:pt x="0" y="333629"/>
                </a:moveTo>
                <a:lnTo>
                  <a:pt x="3616" y="284323"/>
                </a:lnTo>
                <a:lnTo>
                  <a:pt x="14124" y="237265"/>
                </a:lnTo>
                <a:lnTo>
                  <a:pt x="31005" y="192971"/>
                </a:lnTo>
                <a:lnTo>
                  <a:pt x="53744" y="151956"/>
                </a:lnTo>
                <a:lnTo>
                  <a:pt x="81827" y="114736"/>
                </a:lnTo>
                <a:lnTo>
                  <a:pt x="114736" y="81827"/>
                </a:lnTo>
                <a:lnTo>
                  <a:pt x="151956" y="53744"/>
                </a:lnTo>
                <a:lnTo>
                  <a:pt x="192971" y="31005"/>
                </a:lnTo>
                <a:lnTo>
                  <a:pt x="237265" y="14124"/>
                </a:lnTo>
                <a:lnTo>
                  <a:pt x="284323" y="3616"/>
                </a:lnTo>
                <a:lnTo>
                  <a:pt x="333629" y="0"/>
                </a:lnTo>
                <a:lnTo>
                  <a:pt x="2344420" y="0"/>
                </a:lnTo>
                <a:lnTo>
                  <a:pt x="2393728" y="3616"/>
                </a:lnTo>
                <a:lnTo>
                  <a:pt x="2440794" y="14124"/>
                </a:lnTo>
                <a:lnTo>
                  <a:pt x="2485100" y="31005"/>
                </a:lnTo>
                <a:lnTo>
                  <a:pt x="2526130" y="53744"/>
                </a:lnTo>
                <a:lnTo>
                  <a:pt x="2563367" y="81827"/>
                </a:lnTo>
                <a:lnTo>
                  <a:pt x="2596293" y="114736"/>
                </a:lnTo>
                <a:lnTo>
                  <a:pt x="2624392" y="151956"/>
                </a:lnTo>
                <a:lnTo>
                  <a:pt x="2647147" y="192971"/>
                </a:lnTo>
                <a:lnTo>
                  <a:pt x="2664040" y="237265"/>
                </a:lnTo>
                <a:lnTo>
                  <a:pt x="2674556" y="284323"/>
                </a:lnTo>
                <a:lnTo>
                  <a:pt x="2678176" y="333629"/>
                </a:lnTo>
                <a:lnTo>
                  <a:pt x="2678176" y="1668272"/>
                </a:lnTo>
                <a:lnTo>
                  <a:pt x="2674556" y="1717562"/>
                </a:lnTo>
                <a:lnTo>
                  <a:pt x="2664040" y="1764608"/>
                </a:lnTo>
                <a:lnTo>
                  <a:pt x="2647147" y="1808895"/>
                </a:lnTo>
                <a:lnTo>
                  <a:pt x="2624392" y="1849905"/>
                </a:lnTo>
                <a:lnTo>
                  <a:pt x="2596293" y="1887122"/>
                </a:lnTo>
                <a:lnTo>
                  <a:pt x="2563367" y="1920030"/>
                </a:lnTo>
                <a:lnTo>
                  <a:pt x="2526130" y="1948113"/>
                </a:lnTo>
                <a:lnTo>
                  <a:pt x="2485100" y="1970854"/>
                </a:lnTo>
                <a:lnTo>
                  <a:pt x="2440794" y="1987737"/>
                </a:lnTo>
                <a:lnTo>
                  <a:pt x="2393728" y="1998245"/>
                </a:lnTo>
                <a:lnTo>
                  <a:pt x="2344420" y="2001862"/>
                </a:lnTo>
                <a:lnTo>
                  <a:pt x="333629" y="2001862"/>
                </a:lnTo>
                <a:lnTo>
                  <a:pt x="284323" y="1998245"/>
                </a:lnTo>
                <a:lnTo>
                  <a:pt x="237265" y="1987737"/>
                </a:lnTo>
                <a:lnTo>
                  <a:pt x="192971" y="1970854"/>
                </a:lnTo>
                <a:lnTo>
                  <a:pt x="151956" y="1948113"/>
                </a:lnTo>
                <a:lnTo>
                  <a:pt x="114736" y="1920030"/>
                </a:lnTo>
                <a:lnTo>
                  <a:pt x="81827" y="1887122"/>
                </a:lnTo>
                <a:lnTo>
                  <a:pt x="53744" y="1849905"/>
                </a:lnTo>
                <a:lnTo>
                  <a:pt x="31005" y="1808895"/>
                </a:lnTo>
                <a:lnTo>
                  <a:pt x="14124" y="1764608"/>
                </a:lnTo>
                <a:lnTo>
                  <a:pt x="3616" y="1717562"/>
                </a:lnTo>
                <a:lnTo>
                  <a:pt x="0" y="1668272"/>
                </a:lnTo>
                <a:lnTo>
                  <a:pt x="0" y="333629"/>
                </a:lnTo>
                <a:close/>
              </a:path>
            </a:pathLst>
          </a:custGeom>
          <a:solidFill>
            <a:srgbClr val="EAEADE"/>
          </a:solidFill>
          <a:ln w="25400">
            <a:solidFill>
              <a:srgbClr val="EAEADE"/>
            </a:solidFill>
          </a:ln>
        </p:spPr>
        <p:txBody>
          <a:bodyPr wrap="square" lIns="0" tIns="0" rIns="0" bIns="0" rtlCol="0"/>
          <a:lstStyle/>
          <a:p>
            <a:endParaRPr sz="1800">
              <a:latin typeface="Catamaran Light" panose="00000400000000000000" pitchFamily="2" charset="0"/>
              <a:cs typeface="Catamaran Light" panose="00000400000000000000" pitchFamily="2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:a16="http://schemas.microsoft.com/office/drawing/2014/main" xmlns="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xmlns="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  <a:p>
            <a:endParaRPr lang="es-CL" sz="2000" b="1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1CDCF3A-7247-7544-8B08-750AE2F6DA52}"/>
              </a:ext>
            </a:extLst>
          </p:cNvPr>
          <p:cNvSpPr txBox="1"/>
          <p:nvPr/>
        </p:nvSpPr>
        <p:spPr>
          <a:xfrm>
            <a:off x="5035698" y="2942358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FCA3EFCF-3314-D945-8CC5-025D0246587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386F78E6-EA9A-BB44-AAB6-8EE593FD680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3703DD3C-CA6B-E648-A947-B8F83772F9A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CDDED0DE-E572-BE4B-B045-FCEE4D826587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1" name="object 2">
            <a:extLst>
              <a:ext uri="{FF2B5EF4-FFF2-40B4-BE49-F238E27FC236}">
                <a16:creationId xmlns:a16="http://schemas.microsoft.com/office/drawing/2014/main" xmlns="" id="{99CDB9FA-2214-AE43-B7E8-9F2F00D1EECF}"/>
              </a:ext>
            </a:extLst>
          </p:cNvPr>
          <p:cNvSpPr/>
          <p:nvPr/>
        </p:nvSpPr>
        <p:spPr>
          <a:xfrm>
            <a:off x="8231015" y="5004574"/>
            <a:ext cx="3600000" cy="3234055"/>
          </a:xfrm>
          <a:custGeom>
            <a:avLst/>
            <a:gdLst/>
            <a:ahLst/>
            <a:cxnLst/>
            <a:rect l="l" t="t" r="r" b="b"/>
            <a:pathLst>
              <a:path w="2887979" h="3234054">
                <a:moveTo>
                  <a:pt x="2406269" y="0"/>
                </a:moveTo>
                <a:lnTo>
                  <a:pt x="481203" y="0"/>
                </a:lnTo>
                <a:lnTo>
                  <a:pt x="431994" y="2485"/>
                </a:lnTo>
                <a:lnTo>
                  <a:pt x="384209" y="9779"/>
                </a:lnTo>
                <a:lnTo>
                  <a:pt x="338089" y="21641"/>
                </a:lnTo>
                <a:lnTo>
                  <a:pt x="293876" y="37828"/>
                </a:lnTo>
                <a:lnTo>
                  <a:pt x="251810" y="58098"/>
                </a:lnTo>
                <a:lnTo>
                  <a:pt x="212135" y="82208"/>
                </a:lnTo>
                <a:lnTo>
                  <a:pt x="175092" y="109918"/>
                </a:lnTo>
                <a:lnTo>
                  <a:pt x="140922" y="140985"/>
                </a:lnTo>
                <a:lnTo>
                  <a:pt x="109867" y="175167"/>
                </a:lnTo>
                <a:lnTo>
                  <a:pt x="82168" y="212222"/>
                </a:lnTo>
                <a:lnTo>
                  <a:pt x="58068" y="251908"/>
                </a:lnTo>
                <a:lnTo>
                  <a:pt x="37808" y="293983"/>
                </a:lnTo>
                <a:lnTo>
                  <a:pt x="21629" y="338204"/>
                </a:lnTo>
                <a:lnTo>
                  <a:pt x="9774" y="384331"/>
                </a:lnTo>
                <a:lnTo>
                  <a:pt x="2483" y="432120"/>
                </a:lnTo>
                <a:lnTo>
                  <a:pt x="0" y="481329"/>
                </a:lnTo>
                <a:lnTo>
                  <a:pt x="0" y="2752471"/>
                </a:lnTo>
                <a:lnTo>
                  <a:pt x="2483" y="2801680"/>
                </a:lnTo>
                <a:lnTo>
                  <a:pt x="9774" y="2849468"/>
                </a:lnTo>
                <a:lnTo>
                  <a:pt x="21629" y="2895592"/>
                </a:lnTo>
                <a:lnTo>
                  <a:pt x="37808" y="2939811"/>
                </a:lnTo>
                <a:lnTo>
                  <a:pt x="58068" y="2981883"/>
                </a:lnTo>
                <a:lnTo>
                  <a:pt x="82168" y="3021566"/>
                </a:lnTo>
                <a:lnTo>
                  <a:pt x="109867" y="3058617"/>
                </a:lnTo>
                <a:lnTo>
                  <a:pt x="140922" y="3092796"/>
                </a:lnTo>
                <a:lnTo>
                  <a:pt x="175092" y="3123859"/>
                </a:lnTo>
                <a:lnTo>
                  <a:pt x="212135" y="3151566"/>
                </a:lnTo>
                <a:lnTo>
                  <a:pt x="251810" y="3175673"/>
                </a:lnTo>
                <a:lnTo>
                  <a:pt x="293876" y="3195940"/>
                </a:lnTo>
                <a:lnTo>
                  <a:pt x="338089" y="3212125"/>
                </a:lnTo>
                <a:lnTo>
                  <a:pt x="384209" y="3223984"/>
                </a:lnTo>
                <a:lnTo>
                  <a:pt x="431994" y="3231278"/>
                </a:lnTo>
                <a:lnTo>
                  <a:pt x="481203" y="3233762"/>
                </a:lnTo>
                <a:lnTo>
                  <a:pt x="2406269" y="3233762"/>
                </a:lnTo>
                <a:lnTo>
                  <a:pt x="2455478" y="3231278"/>
                </a:lnTo>
                <a:lnTo>
                  <a:pt x="2503267" y="3223984"/>
                </a:lnTo>
                <a:lnTo>
                  <a:pt x="2549394" y="3212125"/>
                </a:lnTo>
                <a:lnTo>
                  <a:pt x="2593615" y="3195940"/>
                </a:lnTo>
                <a:lnTo>
                  <a:pt x="2635690" y="3175673"/>
                </a:lnTo>
                <a:lnTo>
                  <a:pt x="2675376" y="3151566"/>
                </a:lnTo>
                <a:lnTo>
                  <a:pt x="2712431" y="3123859"/>
                </a:lnTo>
                <a:lnTo>
                  <a:pt x="2746613" y="3092796"/>
                </a:lnTo>
                <a:lnTo>
                  <a:pt x="2777680" y="3058617"/>
                </a:lnTo>
                <a:lnTo>
                  <a:pt x="2805390" y="3021566"/>
                </a:lnTo>
                <a:lnTo>
                  <a:pt x="2829500" y="2981883"/>
                </a:lnTo>
                <a:lnTo>
                  <a:pt x="2849770" y="2939811"/>
                </a:lnTo>
                <a:lnTo>
                  <a:pt x="2865957" y="2895592"/>
                </a:lnTo>
                <a:lnTo>
                  <a:pt x="2877819" y="2849468"/>
                </a:lnTo>
                <a:lnTo>
                  <a:pt x="2885113" y="2801680"/>
                </a:lnTo>
                <a:lnTo>
                  <a:pt x="2887599" y="2752471"/>
                </a:lnTo>
                <a:lnTo>
                  <a:pt x="2887599" y="481329"/>
                </a:lnTo>
                <a:lnTo>
                  <a:pt x="2885113" y="432120"/>
                </a:lnTo>
                <a:lnTo>
                  <a:pt x="2877819" y="384331"/>
                </a:lnTo>
                <a:lnTo>
                  <a:pt x="2865957" y="338204"/>
                </a:lnTo>
                <a:lnTo>
                  <a:pt x="2849770" y="293983"/>
                </a:lnTo>
                <a:lnTo>
                  <a:pt x="2829500" y="251908"/>
                </a:lnTo>
                <a:lnTo>
                  <a:pt x="2805390" y="212222"/>
                </a:lnTo>
                <a:lnTo>
                  <a:pt x="2777680" y="175167"/>
                </a:lnTo>
                <a:lnTo>
                  <a:pt x="2746613" y="140985"/>
                </a:lnTo>
                <a:lnTo>
                  <a:pt x="2712431" y="109918"/>
                </a:lnTo>
                <a:lnTo>
                  <a:pt x="2675376" y="82208"/>
                </a:lnTo>
                <a:lnTo>
                  <a:pt x="2635690" y="58098"/>
                </a:lnTo>
                <a:lnTo>
                  <a:pt x="2593615" y="37828"/>
                </a:lnTo>
                <a:lnTo>
                  <a:pt x="2549394" y="21641"/>
                </a:lnTo>
                <a:lnTo>
                  <a:pt x="2503267" y="9779"/>
                </a:lnTo>
                <a:lnTo>
                  <a:pt x="2455478" y="2485"/>
                </a:lnTo>
                <a:lnTo>
                  <a:pt x="2406269" y="0"/>
                </a:lnTo>
                <a:close/>
              </a:path>
            </a:pathLst>
          </a:custGeom>
          <a:solidFill>
            <a:srgbClr val="EAEADE"/>
          </a:solidFill>
          <a:ln>
            <a:solidFill>
              <a:srgbClr val="EAEADE"/>
            </a:solidFill>
          </a:ln>
        </p:spPr>
        <p:txBody>
          <a:bodyPr wrap="square" lIns="0" tIns="0" rIns="0" bIns="0" rtlCol="0"/>
          <a:lstStyle/>
          <a:p>
            <a:endParaRPr sz="1800">
              <a:latin typeface="Catamaran Light" panose="00000400000000000000" pitchFamily="2" charset="0"/>
              <a:cs typeface="Catamaran Light" panose="00000400000000000000" pitchFamily="2" charset="0"/>
            </a:endParaRPr>
          </a:p>
        </p:txBody>
      </p:sp>
      <p:sp>
        <p:nvSpPr>
          <p:cNvPr id="33" name="object 4">
            <a:extLst>
              <a:ext uri="{FF2B5EF4-FFF2-40B4-BE49-F238E27FC236}">
                <a16:creationId xmlns:a16="http://schemas.microsoft.com/office/drawing/2014/main" xmlns="" id="{B4596B78-0A39-5844-BC0D-38ADEC04EFF5}"/>
              </a:ext>
            </a:extLst>
          </p:cNvPr>
          <p:cNvSpPr txBox="1"/>
          <p:nvPr/>
        </p:nvSpPr>
        <p:spPr>
          <a:xfrm>
            <a:off x="8273565" y="5259754"/>
            <a:ext cx="3600000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12700" algn="ctr">
              <a:lnSpc>
                <a:spcPct val="100000"/>
              </a:lnSpc>
              <a:spcBef>
                <a:spcPts val="100"/>
              </a:spcBef>
            </a:pPr>
            <a:r>
              <a:rPr sz="21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CONTROLES  ADMINISTRATIVOS</a:t>
            </a:r>
          </a:p>
        </p:txBody>
      </p:sp>
      <p:sp>
        <p:nvSpPr>
          <p:cNvPr id="34" name="object 5">
            <a:extLst>
              <a:ext uri="{FF2B5EF4-FFF2-40B4-BE49-F238E27FC236}">
                <a16:creationId xmlns:a16="http://schemas.microsoft.com/office/drawing/2014/main" xmlns="" id="{CA90FA8F-AA5F-AC41-BAA5-C5AE7D3E0DDF}"/>
              </a:ext>
            </a:extLst>
          </p:cNvPr>
          <p:cNvSpPr txBox="1"/>
          <p:nvPr/>
        </p:nvSpPr>
        <p:spPr>
          <a:xfrm>
            <a:off x="8389044" y="6189215"/>
            <a:ext cx="3492000" cy="155170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4163" indent="-271463">
              <a:buSzPct val="94444"/>
              <a:buChar char="•"/>
              <a:tabLst>
                <a:tab pos="12763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Rotación de trabajadores</a:t>
            </a:r>
          </a:p>
          <a:p>
            <a:pPr marL="284163" indent="-271463">
              <a:buSzPct val="94444"/>
              <a:buChar char="•"/>
              <a:tabLst>
                <a:tab pos="12763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xtensión de Breaks</a:t>
            </a:r>
          </a:p>
          <a:p>
            <a:pPr marL="284163" indent="-271463">
              <a:buSzPct val="94444"/>
              <a:buChar char="•"/>
              <a:tabLst>
                <a:tab pos="12763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2°/3er Turno</a:t>
            </a:r>
          </a:p>
          <a:p>
            <a:pPr marL="284163" indent="-271463">
              <a:buSzPct val="94444"/>
              <a:buChar char="•"/>
              <a:tabLst>
                <a:tab pos="12763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Segregación de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ctividades ruidosas</a:t>
            </a:r>
          </a:p>
        </p:txBody>
      </p:sp>
      <p:sp>
        <p:nvSpPr>
          <p:cNvPr id="35" name="object 6">
            <a:extLst>
              <a:ext uri="{FF2B5EF4-FFF2-40B4-BE49-F238E27FC236}">
                <a16:creationId xmlns:a16="http://schemas.microsoft.com/office/drawing/2014/main" xmlns="" id="{B8DC69F4-19FB-5B45-8FD2-EE9E4612311B}"/>
              </a:ext>
            </a:extLst>
          </p:cNvPr>
          <p:cNvSpPr/>
          <p:nvPr/>
        </p:nvSpPr>
        <p:spPr>
          <a:xfrm>
            <a:off x="4284588" y="4242574"/>
            <a:ext cx="3600000" cy="4002404"/>
          </a:xfrm>
          <a:custGeom>
            <a:avLst/>
            <a:gdLst/>
            <a:ahLst/>
            <a:cxnLst/>
            <a:rect l="l" t="t" r="r" b="b"/>
            <a:pathLst>
              <a:path w="2916555" h="4002404">
                <a:moveTo>
                  <a:pt x="2430145" y="0"/>
                </a:moveTo>
                <a:lnTo>
                  <a:pt x="486054" y="0"/>
                </a:lnTo>
                <a:lnTo>
                  <a:pt x="439244" y="2225"/>
                </a:lnTo>
                <a:lnTo>
                  <a:pt x="393692" y="8766"/>
                </a:lnTo>
                <a:lnTo>
                  <a:pt x="349604" y="19418"/>
                </a:lnTo>
                <a:lnTo>
                  <a:pt x="307181" y="33978"/>
                </a:lnTo>
                <a:lnTo>
                  <a:pt x="266629" y="52241"/>
                </a:lnTo>
                <a:lnTo>
                  <a:pt x="228150" y="74004"/>
                </a:lnTo>
                <a:lnTo>
                  <a:pt x="191948" y="99062"/>
                </a:lnTo>
                <a:lnTo>
                  <a:pt x="158228" y="127212"/>
                </a:lnTo>
                <a:lnTo>
                  <a:pt x="127192" y="158249"/>
                </a:lnTo>
                <a:lnTo>
                  <a:pt x="99045" y="191970"/>
                </a:lnTo>
                <a:lnTo>
                  <a:pt x="73990" y="228171"/>
                </a:lnTo>
                <a:lnTo>
                  <a:pt x="52230" y="266648"/>
                </a:lnTo>
                <a:lnTo>
                  <a:pt x="33970" y="307196"/>
                </a:lnTo>
                <a:lnTo>
                  <a:pt x="19414" y="349612"/>
                </a:lnTo>
                <a:lnTo>
                  <a:pt x="8764" y="393692"/>
                </a:lnTo>
                <a:lnTo>
                  <a:pt x="2225" y="439232"/>
                </a:lnTo>
                <a:lnTo>
                  <a:pt x="0" y="486028"/>
                </a:lnTo>
                <a:lnTo>
                  <a:pt x="0" y="3516122"/>
                </a:lnTo>
                <a:lnTo>
                  <a:pt x="2225" y="3562923"/>
                </a:lnTo>
                <a:lnTo>
                  <a:pt x="8764" y="3608467"/>
                </a:lnTo>
                <a:lnTo>
                  <a:pt x="19414" y="3652548"/>
                </a:lnTo>
                <a:lnTo>
                  <a:pt x="33970" y="3694964"/>
                </a:lnTo>
                <a:lnTo>
                  <a:pt x="52230" y="3735511"/>
                </a:lnTo>
                <a:lnTo>
                  <a:pt x="73990" y="3773985"/>
                </a:lnTo>
                <a:lnTo>
                  <a:pt x="99045" y="3810182"/>
                </a:lnTo>
                <a:lnTo>
                  <a:pt x="127192" y="3843898"/>
                </a:lnTo>
                <a:lnTo>
                  <a:pt x="158228" y="3874931"/>
                </a:lnTo>
                <a:lnTo>
                  <a:pt x="191948" y="3903075"/>
                </a:lnTo>
                <a:lnTo>
                  <a:pt x="228150" y="3928128"/>
                </a:lnTo>
                <a:lnTo>
                  <a:pt x="266629" y="3949886"/>
                </a:lnTo>
                <a:lnTo>
                  <a:pt x="307181" y="3968144"/>
                </a:lnTo>
                <a:lnTo>
                  <a:pt x="349604" y="3982700"/>
                </a:lnTo>
                <a:lnTo>
                  <a:pt x="393692" y="3993349"/>
                </a:lnTo>
                <a:lnTo>
                  <a:pt x="439244" y="3999888"/>
                </a:lnTo>
                <a:lnTo>
                  <a:pt x="486054" y="4002112"/>
                </a:lnTo>
                <a:lnTo>
                  <a:pt x="2430145" y="4002112"/>
                </a:lnTo>
                <a:lnTo>
                  <a:pt x="2476962" y="3999888"/>
                </a:lnTo>
                <a:lnTo>
                  <a:pt x="2522520" y="3993349"/>
                </a:lnTo>
                <a:lnTo>
                  <a:pt x="2566617" y="3982700"/>
                </a:lnTo>
                <a:lnTo>
                  <a:pt x="2609047" y="3968144"/>
                </a:lnTo>
                <a:lnTo>
                  <a:pt x="2649608" y="3949886"/>
                </a:lnTo>
                <a:lnTo>
                  <a:pt x="2688094" y="3928128"/>
                </a:lnTo>
                <a:lnTo>
                  <a:pt x="2724304" y="3903075"/>
                </a:lnTo>
                <a:lnTo>
                  <a:pt x="2758032" y="3874931"/>
                </a:lnTo>
                <a:lnTo>
                  <a:pt x="2789075" y="3843898"/>
                </a:lnTo>
                <a:lnTo>
                  <a:pt x="2817229" y="3810182"/>
                </a:lnTo>
                <a:lnTo>
                  <a:pt x="2842290" y="3773985"/>
                </a:lnTo>
                <a:lnTo>
                  <a:pt x="2864055" y="3735511"/>
                </a:lnTo>
                <a:lnTo>
                  <a:pt x="2882320" y="3694964"/>
                </a:lnTo>
                <a:lnTo>
                  <a:pt x="2896881" y="3652548"/>
                </a:lnTo>
                <a:lnTo>
                  <a:pt x="2907534" y="3608467"/>
                </a:lnTo>
                <a:lnTo>
                  <a:pt x="2914075" y="3562923"/>
                </a:lnTo>
                <a:lnTo>
                  <a:pt x="2916301" y="3516122"/>
                </a:lnTo>
                <a:lnTo>
                  <a:pt x="2916301" y="486028"/>
                </a:lnTo>
                <a:lnTo>
                  <a:pt x="2914075" y="439232"/>
                </a:lnTo>
                <a:lnTo>
                  <a:pt x="2907534" y="393692"/>
                </a:lnTo>
                <a:lnTo>
                  <a:pt x="2896881" y="349612"/>
                </a:lnTo>
                <a:lnTo>
                  <a:pt x="2882320" y="307196"/>
                </a:lnTo>
                <a:lnTo>
                  <a:pt x="2864055" y="266648"/>
                </a:lnTo>
                <a:lnTo>
                  <a:pt x="2842290" y="228171"/>
                </a:lnTo>
                <a:lnTo>
                  <a:pt x="2817229" y="191970"/>
                </a:lnTo>
                <a:lnTo>
                  <a:pt x="2789075" y="158249"/>
                </a:lnTo>
                <a:lnTo>
                  <a:pt x="2758032" y="127212"/>
                </a:lnTo>
                <a:lnTo>
                  <a:pt x="2724304" y="99062"/>
                </a:lnTo>
                <a:lnTo>
                  <a:pt x="2688094" y="74004"/>
                </a:lnTo>
                <a:lnTo>
                  <a:pt x="2649608" y="52241"/>
                </a:lnTo>
                <a:lnTo>
                  <a:pt x="2609047" y="33978"/>
                </a:lnTo>
                <a:lnTo>
                  <a:pt x="2566617" y="19418"/>
                </a:lnTo>
                <a:lnTo>
                  <a:pt x="2522520" y="8766"/>
                </a:lnTo>
                <a:lnTo>
                  <a:pt x="2476962" y="2225"/>
                </a:lnTo>
                <a:lnTo>
                  <a:pt x="2430145" y="0"/>
                </a:lnTo>
                <a:close/>
              </a:path>
            </a:pathLst>
          </a:custGeom>
          <a:solidFill>
            <a:srgbClr val="EAEADE"/>
          </a:solidFill>
          <a:ln>
            <a:solidFill>
              <a:srgbClr val="EAEADE">
                <a:alpha val="0"/>
              </a:srgb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10">
            <a:extLst>
              <a:ext uri="{FF2B5EF4-FFF2-40B4-BE49-F238E27FC236}">
                <a16:creationId xmlns:a16="http://schemas.microsoft.com/office/drawing/2014/main" xmlns="" id="{067EBC84-F523-CA43-935D-D792A3562741}"/>
              </a:ext>
            </a:extLst>
          </p:cNvPr>
          <p:cNvSpPr txBox="1"/>
          <p:nvPr/>
        </p:nvSpPr>
        <p:spPr>
          <a:xfrm>
            <a:off x="4356596" y="4428554"/>
            <a:ext cx="3492000" cy="6719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1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CONTROLES DE </a:t>
            </a:r>
            <a:endParaRPr lang="en-US" sz="2100" b="1" dirty="0">
              <a:solidFill>
                <a:srgbClr val="15C047"/>
              </a:solidFill>
              <a:latin typeface="ACHS Nueva Sans SemiBold" pitchFamily="2" charset="77"/>
              <a:cs typeface="Calibri" panose="020F0502020204030204" pitchFamily="34" charset="0"/>
            </a:endParaRPr>
          </a:p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1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INGENIERÍA</a:t>
            </a:r>
          </a:p>
        </p:txBody>
      </p:sp>
      <p:sp>
        <p:nvSpPr>
          <p:cNvPr id="39" name="object 11">
            <a:extLst>
              <a:ext uri="{FF2B5EF4-FFF2-40B4-BE49-F238E27FC236}">
                <a16:creationId xmlns:a16="http://schemas.microsoft.com/office/drawing/2014/main" xmlns="" id="{BF1B7BE7-6401-4D4B-83BA-485C147F81F9}"/>
              </a:ext>
            </a:extLst>
          </p:cNvPr>
          <p:cNvSpPr txBox="1"/>
          <p:nvPr/>
        </p:nvSpPr>
        <p:spPr>
          <a:xfrm>
            <a:off x="4429004" y="5358799"/>
            <a:ext cx="3600000" cy="21672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6075" marR="5080" indent="-333375">
              <a:lnSpc>
                <a:spcPct val="100000"/>
              </a:lnSpc>
              <a:buSzPct val="94444"/>
              <a:buChar char="•"/>
              <a:tabLst>
                <a:tab pos="34607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mortiguadores de  Vibración</a:t>
            </a:r>
          </a:p>
          <a:p>
            <a:pPr marL="346075" indent="-333375">
              <a:lnSpc>
                <a:spcPct val="100000"/>
              </a:lnSpc>
              <a:buSzPct val="94444"/>
              <a:buChar char="•"/>
              <a:tabLst>
                <a:tab pos="34607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ncerramientos</a:t>
            </a:r>
          </a:p>
          <a:p>
            <a:pPr marL="346075" indent="-333375">
              <a:lnSpc>
                <a:spcPct val="100000"/>
              </a:lnSpc>
              <a:buSzPct val="94444"/>
              <a:buChar char="•"/>
              <a:tabLst>
                <a:tab pos="34607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Barreras</a:t>
            </a:r>
          </a:p>
          <a:p>
            <a:pPr marL="346075" indent="-333375">
              <a:lnSpc>
                <a:spcPct val="100000"/>
              </a:lnSpc>
              <a:buSzPct val="94444"/>
              <a:buChar char="•"/>
              <a:tabLst>
                <a:tab pos="34607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bsorción</a:t>
            </a:r>
          </a:p>
          <a:p>
            <a:pPr marL="346075" indent="-333375">
              <a:lnSpc>
                <a:spcPct val="100000"/>
              </a:lnSpc>
              <a:buSzPct val="94444"/>
              <a:buChar char="•"/>
              <a:tabLst>
                <a:tab pos="34607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islación</a:t>
            </a:r>
          </a:p>
          <a:p>
            <a:pPr marL="346075" indent="-333375">
              <a:lnSpc>
                <a:spcPct val="100000"/>
              </a:lnSpc>
              <a:buSzPct val="94444"/>
              <a:buChar char="•"/>
              <a:tabLst>
                <a:tab pos="346075" algn="l"/>
              </a:tabLst>
            </a:pPr>
            <a:r>
              <a:rPr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Silenciadores</a:t>
            </a:r>
          </a:p>
        </p:txBody>
      </p:sp>
      <p:sp>
        <p:nvSpPr>
          <p:cNvPr id="42" name="object 14">
            <a:extLst>
              <a:ext uri="{FF2B5EF4-FFF2-40B4-BE49-F238E27FC236}">
                <a16:creationId xmlns:a16="http://schemas.microsoft.com/office/drawing/2014/main" xmlns="" id="{4D730E8C-783B-8740-BB6D-CFC8BA26C064}"/>
              </a:ext>
            </a:extLst>
          </p:cNvPr>
          <p:cNvSpPr/>
          <p:nvPr/>
        </p:nvSpPr>
        <p:spPr>
          <a:xfrm>
            <a:off x="12401005" y="6612712"/>
            <a:ext cx="3600000" cy="646430"/>
          </a:xfrm>
          <a:custGeom>
            <a:avLst/>
            <a:gdLst/>
            <a:ahLst/>
            <a:cxnLst/>
            <a:rect l="l" t="t" r="r" b="b"/>
            <a:pathLst>
              <a:path w="2660650" h="646429">
                <a:moveTo>
                  <a:pt x="0" y="646112"/>
                </a:moveTo>
                <a:lnTo>
                  <a:pt x="2660650" y="646112"/>
                </a:lnTo>
                <a:lnTo>
                  <a:pt x="2660650" y="0"/>
                </a:lnTo>
                <a:lnTo>
                  <a:pt x="0" y="0"/>
                </a:lnTo>
                <a:lnTo>
                  <a:pt x="0" y="646112"/>
                </a:lnTo>
                <a:close/>
              </a:path>
            </a:pathLst>
          </a:custGeom>
          <a:solidFill>
            <a:srgbClr val="EAEADE"/>
          </a:solidFill>
        </p:spPr>
        <p:txBody>
          <a:bodyPr wrap="square" lIns="0" tIns="0" rIns="0" bIns="0" rtlCol="0"/>
          <a:lstStyle/>
          <a:p>
            <a:endParaRPr sz="1800">
              <a:latin typeface="Catamaran Light" panose="00000400000000000000" pitchFamily="2" charset="0"/>
              <a:cs typeface="Catamaran Light" panose="00000400000000000000" pitchFamily="2" charset="0"/>
            </a:endParaRPr>
          </a:p>
        </p:txBody>
      </p:sp>
      <p:sp>
        <p:nvSpPr>
          <p:cNvPr id="47" name="object 16">
            <a:extLst>
              <a:ext uri="{FF2B5EF4-FFF2-40B4-BE49-F238E27FC236}">
                <a16:creationId xmlns:a16="http://schemas.microsoft.com/office/drawing/2014/main" xmlns="" id="{8BA0A340-274A-9042-98B5-467F71062625}"/>
              </a:ext>
            </a:extLst>
          </p:cNvPr>
          <p:cNvSpPr txBox="1"/>
          <p:nvPr/>
        </p:nvSpPr>
        <p:spPr>
          <a:xfrm>
            <a:off x="12657435" y="6876826"/>
            <a:ext cx="3220441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indent="12700" algn="ctr">
              <a:lnSpc>
                <a:spcPct val="100000"/>
              </a:lnSpc>
              <a:spcBef>
                <a:spcPts val="100"/>
              </a:spcBef>
            </a:pPr>
            <a:r>
              <a:rPr sz="21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EQUIPOS DE PROTECCIÓN  PERSONAL</a:t>
            </a:r>
          </a:p>
        </p:txBody>
      </p:sp>
      <p:sp>
        <p:nvSpPr>
          <p:cNvPr id="48" name="object 19">
            <a:extLst>
              <a:ext uri="{FF2B5EF4-FFF2-40B4-BE49-F238E27FC236}">
                <a16:creationId xmlns:a16="http://schemas.microsoft.com/office/drawing/2014/main" xmlns="" id="{A96E98EE-8D8E-3341-9E46-70E440ACE0DA}"/>
              </a:ext>
            </a:extLst>
          </p:cNvPr>
          <p:cNvSpPr/>
          <p:nvPr/>
        </p:nvSpPr>
        <p:spPr>
          <a:xfrm>
            <a:off x="8304962" y="2591465"/>
            <a:ext cx="3600000" cy="530225"/>
          </a:xfrm>
          <a:custGeom>
            <a:avLst/>
            <a:gdLst/>
            <a:ahLst/>
            <a:cxnLst/>
            <a:rect l="l" t="t" r="r" b="b"/>
            <a:pathLst>
              <a:path w="2678429" h="530225">
                <a:moveTo>
                  <a:pt x="2589784" y="0"/>
                </a:moveTo>
                <a:lnTo>
                  <a:pt x="88392" y="0"/>
                </a:lnTo>
                <a:lnTo>
                  <a:pt x="54006" y="6933"/>
                </a:lnTo>
                <a:lnTo>
                  <a:pt x="25908" y="25844"/>
                </a:lnTo>
                <a:lnTo>
                  <a:pt x="6953" y="53899"/>
                </a:lnTo>
                <a:lnTo>
                  <a:pt x="0" y="88264"/>
                </a:lnTo>
                <a:lnTo>
                  <a:pt x="0" y="441832"/>
                </a:lnTo>
                <a:lnTo>
                  <a:pt x="6953" y="476218"/>
                </a:lnTo>
                <a:lnTo>
                  <a:pt x="25907" y="504316"/>
                </a:lnTo>
                <a:lnTo>
                  <a:pt x="54006" y="523271"/>
                </a:lnTo>
                <a:lnTo>
                  <a:pt x="88392" y="530224"/>
                </a:lnTo>
                <a:lnTo>
                  <a:pt x="2589784" y="530224"/>
                </a:lnTo>
                <a:lnTo>
                  <a:pt x="2624169" y="523271"/>
                </a:lnTo>
                <a:lnTo>
                  <a:pt x="2652267" y="504316"/>
                </a:lnTo>
                <a:lnTo>
                  <a:pt x="2671222" y="476218"/>
                </a:lnTo>
                <a:lnTo>
                  <a:pt x="2678176" y="441832"/>
                </a:lnTo>
                <a:lnTo>
                  <a:pt x="2678176" y="88264"/>
                </a:lnTo>
                <a:lnTo>
                  <a:pt x="2671222" y="53899"/>
                </a:lnTo>
                <a:lnTo>
                  <a:pt x="2652268" y="25844"/>
                </a:lnTo>
                <a:lnTo>
                  <a:pt x="2624169" y="6933"/>
                </a:lnTo>
                <a:lnTo>
                  <a:pt x="2589784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sz="1800">
              <a:latin typeface="Catamaran Light" panose="00000400000000000000" pitchFamily="2" charset="0"/>
              <a:cs typeface="Catamaran Light" panose="00000400000000000000" pitchFamily="2" charset="0"/>
            </a:endParaRPr>
          </a:p>
        </p:txBody>
      </p:sp>
      <p:sp>
        <p:nvSpPr>
          <p:cNvPr id="51" name="object 23">
            <a:extLst>
              <a:ext uri="{FF2B5EF4-FFF2-40B4-BE49-F238E27FC236}">
                <a16:creationId xmlns:a16="http://schemas.microsoft.com/office/drawing/2014/main" xmlns="" id="{14A44D8D-B507-6042-9258-8351724AE23F}"/>
              </a:ext>
            </a:extLst>
          </p:cNvPr>
          <p:cNvSpPr/>
          <p:nvPr/>
        </p:nvSpPr>
        <p:spPr>
          <a:xfrm>
            <a:off x="8327729" y="3476098"/>
            <a:ext cx="3600000" cy="530860"/>
          </a:xfrm>
          <a:custGeom>
            <a:avLst/>
            <a:gdLst/>
            <a:ahLst/>
            <a:cxnLst/>
            <a:rect l="l" t="t" r="r" b="b"/>
            <a:pathLst>
              <a:path w="2678429" h="530860">
                <a:moveTo>
                  <a:pt x="2589784" y="0"/>
                </a:moveTo>
                <a:lnTo>
                  <a:pt x="88392" y="0"/>
                </a:lnTo>
                <a:lnTo>
                  <a:pt x="54006" y="6953"/>
                </a:lnTo>
                <a:lnTo>
                  <a:pt x="25908" y="25907"/>
                </a:lnTo>
                <a:lnTo>
                  <a:pt x="6953" y="54006"/>
                </a:lnTo>
                <a:lnTo>
                  <a:pt x="0" y="88391"/>
                </a:lnTo>
                <a:lnTo>
                  <a:pt x="0" y="441959"/>
                </a:lnTo>
                <a:lnTo>
                  <a:pt x="6953" y="476345"/>
                </a:lnTo>
                <a:lnTo>
                  <a:pt x="25907" y="504443"/>
                </a:lnTo>
                <a:lnTo>
                  <a:pt x="54006" y="523398"/>
                </a:lnTo>
                <a:lnTo>
                  <a:pt x="88392" y="530351"/>
                </a:lnTo>
                <a:lnTo>
                  <a:pt x="2589784" y="530351"/>
                </a:lnTo>
                <a:lnTo>
                  <a:pt x="2624169" y="523398"/>
                </a:lnTo>
                <a:lnTo>
                  <a:pt x="2652267" y="504443"/>
                </a:lnTo>
                <a:lnTo>
                  <a:pt x="2671222" y="476345"/>
                </a:lnTo>
                <a:lnTo>
                  <a:pt x="2678176" y="441959"/>
                </a:lnTo>
                <a:lnTo>
                  <a:pt x="2678176" y="88391"/>
                </a:lnTo>
                <a:lnTo>
                  <a:pt x="2671222" y="54006"/>
                </a:lnTo>
                <a:lnTo>
                  <a:pt x="2652268" y="25907"/>
                </a:lnTo>
                <a:lnTo>
                  <a:pt x="2624169" y="6953"/>
                </a:lnTo>
                <a:lnTo>
                  <a:pt x="2589784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sz="1800">
              <a:solidFill>
                <a:schemeClr val="bg1"/>
              </a:solidFill>
              <a:latin typeface="Catamaran Light" panose="00000400000000000000" pitchFamily="2" charset="0"/>
              <a:cs typeface="Catamaran Light" panose="00000400000000000000" pitchFamily="2" charset="0"/>
            </a:endParaRPr>
          </a:p>
        </p:txBody>
      </p:sp>
      <p:sp>
        <p:nvSpPr>
          <p:cNvPr id="52" name="object 27">
            <a:extLst>
              <a:ext uri="{FF2B5EF4-FFF2-40B4-BE49-F238E27FC236}">
                <a16:creationId xmlns:a16="http://schemas.microsoft.com/office/drawing/2014/main" xmlns="" id="{497E378B-25C9-CC4D-B1BD-4B6C14E63012}"/>
              </a:ext>
            </a:extLst>
          </p:cNvPr>
          <p:cNvSpPr txBox="1"/>
          <p:nvPr/>
        </p:nvSpPr>
        <p:spPr>
          <a:xfrm>
            <a:off x="8512534" y="2680568"/>
            <a:ext cx="3600000" cy="1243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33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sz="2000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1.</a:t>
            </a:r>
            <a:r>
              <a:rPr lang="es-CL" sz="2000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  </a:t>
            </a:r>
            <a:r>
              <a:rPr sz="2000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 ELIMINACIÓN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sz="2000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sz="2000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2.</a:t>
            </a:r>
            <a:r>
              <a:rPr lang="es-CL" sz="2000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 </a:t>
            </a:r>
            <a:r>
              <a:rPr sz="2000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 SUSTITUCIÓN</a:t>
            </a:r>
          </a:p>
        </p:txBody>
      </p:sp>
      <p:sp>
        <p:nvSpPr>
          <p:cNvPr id="53" name="Rectángulo 1">
            <a:extLst>
              <a:ext uri="{FF2B5EF4-FFF2-40B4-BE49-F238E27FC236}">
                <a16:creationId xmlns:a16="http://schemas.microsoft.com/office/drawing/2014/main" xmlns="" id="{2C3103BA-B6B0-2442-BADD-1F9E6D637C10}"/>
              </a:ext>
            </a:extLst>
          </p:cNvPr>
          <p:cNvSpPr/>
          <p:nvPr/>
        </p:nvSpPr>
        <p:spPr>
          <a:xfrm>
            <a:off x="4318668" y="1589597"/>
            <a:ext cx="471154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400" b="1" dirty="0">
                <a:solidFill>
                  <a:srgbClr val="15C047"/>
                </a:solidFill>
                <a:latin typeface="ACHS Nueva Serif" pitchFamily="2" charset="77"/>
                <a:cs typeface="Calibri" panose="020F0502020204030204" pitchFamily="34" charset="0"/>
              </a:rPr>
              <a:t>Jerarquía de control de agente: </a:t>
            </a:r>
          </a:p>
        </p:txBody>
      </p:sp>
      <p:cxnSp>
        <p:nvCxnSpPr>
          <p:cNvPr id="56" name="Conector angular 8">
            <a:extLst>
              <a:ext uri="{FF2B5EF4-FFF2-40B4-BE49-F238E27FC236}">
                <a16:creationId xmlns:a16="http://schemas.microsoft.com/office/drawing/2014/main" xmlns="" id="{59659B52-D23A-D249-A3EA-E03184E7C579}"/>
              </a:ext>
            </a:extLst>
          </p:cNvPr>
          <p:cNvCxnSpPr>
            <a:cxnSpLocks/>
          </p:cNvCxnSpPr>
          <p:nvPr/>
        </p:nvCxnSpPr>
        <p:spPr>
          <a:xfrm>
            <a:off x="9174630" y="1836070"/>
            <a:ext cx="5045790" cy="4407706"/>
          </a:xfrm>
          <a:prstGeom prst="bentConnector3">
            <a:avLst>
              <a:gd name="adj1" fmla="val 100032"/>
            </a:avLst>
          </a:prstGeom>
          <a:ln w="60325">
            <a:solidFill>
              <a:srgbClr val="0C662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riangle 58">
            <a:extLst>
              <a:ext uri="{FF2B5EF4-FFF2-40B4-BE49-F238E27FC236}">
                <a16:creationId xmlns:a16="http://schemas.microsoft.com/office/drawing/2014/main" xmlns="" id="{A01543C9-B2AA-AB4A-A37C-A5578D22A474}"/>
              </a:ext>
            </a:extLst>
          </p:cNvPr>
          <p:cNvSpPr/>
          <p:nvPr/>
        </p:nvSpPr>
        <p:spPr>
          <a:xfrm rot="10800000">
            <a:off x="13737250" y="5924816"/>
            <a:ext cx="1008113" cy="524124"/>
          </a:xfrm>
          <a:prstGeom prst="triangle">
            <a:avLst/>
          </a:prstGeom>
          <a:solidFill>
            <a:srgbClr val="0C662F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08921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AE258375-5BCF-EC40-AC9D-7A081E94639F}"/>
              </a:ext>
            </a:extLst>
          </p:cNvPr>
          <p:cNvGrpSpPr/>
          <p:nvPr/>
        </p:nvGrpSpPr>
        <p:grpSpPr>
          <a:xfrm>
            <a:off x="10247452" y="3394285"/>
            <a:ext cx="5342392" cy="3501311"/>
            <a:chOff x="-4576573" y="4196793"/>
            <a:chExt cx="4320891" cy="2831837"/>
          </a:xfrm>
        </p:grpSpPr>
        <p:sp>
          <p:nvSpPr>
            <p:cNvPr id="42" name="Rectángulo redondeado 17">
              <a:extLst>
                <a:ext uri="{FF2B5EF4-FFF2-40B4-BE49-F238E27FC236}">
                  <a16:creationId xmlns:a16="http://schemas.microsoft.com/office/drawing/2014/main" xmlns="" id="{5B52CBB6-0C3A-9049-84B6-76CAFABFDECF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43" name="Rectángulo redondeado 18">
              <a:extLst>
                <a:ext uri="{FF2B5EF4-FFF2-40B4-BE49-F238E27FC236}">
                  <a16:creationId xmlns:a16="http://schemas.microsoft.com/office/drawing/2014/main" xmlns="" id="{0010BF70-C873-5149-8D6B-D856CFC5564D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50C9EED2-6190-5642-A6A7-404222F43101}"/>
              </a:ext>
            </a:extLst>
          </p:cNvPr>
          <p:cNvGrpSpPr/>
          <p:nvPr/>
        </p:nvGrpSpPr>
        <p:grpSpPr>
          <a:xfrm>
            <a:off x="4338718" y="3412682"/>
            <a:ext cx="5342392" cy="3501311"/>
            <a:chOff x="-4576573" y="4196793"/>
            <a:chExt cx="4320891" cy="2831837"/>
          </a:xfrm>
        </p:grpSpPr>
        <p:sp>
          <p:nvSpPr>
            <p:cNvPr id="33" name="Rectángulo redondeado 17">
              <a:extLst>
                <a:ext uri="{FF2B5EF4-FFF2-40B4-BE49-F238E27FC236}">
                  <a16:creationId xmlns:a16="http://schemas.microsoft.com/office/drawing/2014/main" xmlns="" id="{419D35A0-4C48-DB44-AD1A-0C5F1E227D8E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34" name="Rectángulo redondeado 18">
              <a:extLst>
                <a:ext uri="{FF2B5EF4-FFF2-40B4-BE49-F238E27FC236}">
                  <a16:creationId xmlns:a16="http://schemas.microsoft.com/office/drawing/2014/main" xmlns="" id="{CEED655D-36A5-9242-BACF-C5E5290B9912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:a16="http://schemas.microsoft.com/office/drawing/2014/main" xmlns="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xmlns="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xmlns="" id="{BB2E8559-B1B5-C542-BC70-C6000F8FB561}"/>
              </a:ext>
            </a:extLst>
          </p:cNvPr>
          <p:cNvSpPr/>
          <p:nvPr/>
        </p:nvSpPr>
        <p:spPr>
          <a:xfrm>
            <a:off x="4495189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4">
            <a:extLst>
              <a:ext uri="{FF2B5EF4-FFF2-40B4-BE49-F238E27FC236}">
                <a16:creationId xmlns:a16="http://schemas.microsoft.com/office/drawing/2014/main" xmlns="" id="{71D8A155-F16F-2345-9976-D0086AF7955B}"/>
              </a:ext>
            </a:extLst>
          </p:cNvPr>
          <p:cNvSpPr txBox="1"/>
          <p:nvPr/>
        </p:nvSpPr>
        <p:spPr>
          <a:xfrm>
            <a:off x="8606569" y="1856332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21" name="object 9">
            <a:extLst>
              <a:ext uri="{FF2B5EF4-FFF2-40B4-BE49-F238E27FC236}">
                <a16:creationId xmlns:a16="http://schemas.microsoft.com/office/drawing/2014/main" xmlns="" id="{CF07917E-19CA-7542-9AE8-947242AB3883}"/>
              </a:ext>
            </a:extLst>
          </p:cNvPr>
          <p:cNvSpPr txBox="1"/>
          <p:nvPr/>
        </p:nvSpPr>
        <p:spPr>
          <a:xfrm>
            <a:off x="5552729" y="4101066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b="1" dirty="0">
                <a:solidFill>
                  <a:srgbClr val="0C662F"/>
                </a:solidFill>
                <a:latin typeface="ACHS Nueva Sans ExtraBold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24" name="object 12">
            <a:extLst>
              <a:ext uri="{FF2B5EF4-FFF2-40B4-BE49-F238E27FC236}">
                <a16:creationId xmlns:a16="http://schemas.microsoft.com/office/drawing/2014/main" xmlns="" id="{BD43B94F-88B3-DF4C-8D2A-BA790A43E303}"/>
              </a:ext>
            </a:extLst>
          </p:cNvPr>
          <p:cNvSpPr txBox="1"/>
          <p:nvPr/>
        </p:nvSpPr>
        <p:spPr>
          <a:xfrm>
            <a:off x="5552729" y="3612843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sp>
        <p:nvSpPr>
          <p:cNvPr id="27" name="object 15">
            <a:extLst>
              <a:ext uri="{FF2B5EF4-FFF2-40B4-BE49-F238E27FC236}">
                <a16:creationId xmlns:a16="http://schemas.microsoft.com/office/drawing/2014/main" xmlns="" id="{C5AE2462-5D35-B44D-90ED-35B215C8865C}"/>
              </a:ext>
            </a:extLst>
          </p:cNvPr>
          <p:cNvSpPr txBox="1"/>
          <p:nvPr/>
        </p:nvSpPr>
        <p:spPr>
          <a:xfrm>
            <a:off x="11564023" y="3646646"/>
            <a:ext cx="2709251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de la Salud</a:t>
            </a:r>
          </a:p>
        </p:txBody>
      </p:sp>
      <p:sp>
        <p:nvSpPr>
          <p:cNvPr id="30" name="object 18">
            <a:extLst>
              <a:ext uri="{FF2B5EF4-FFF2-40B4-BE49-F238E27FC236}">
                <a16:creationId xmlns:a16="http://schemas.microsoft.com/office/drawing/2014/main" xmlns="" id="{02B7750A-DA7A-D747-959A-F11C8BE667F4}"/>
              </a:ext>
            </a:extLst>
          </p:cNvPr>
          <p:cNvSpPr txBox="1"/>
          <p:nvPr/>
        </p:nvSpPr>
        <p:spPr>
          <a:xfrm>
            <a:off x="11646326" y="4083885"/>
            <a:ext cx="3402638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de la Salud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habilitación Auditiva</a:t>
            </a:r>
          </a:p>
          <a:p>
            <a:pPr marL="241300" indent="-228600">
              <a:lnSpc>
                <a:spcPct val="100000"/>
              </a:lnSpc>
              <a:buFont typeface="Wingdings"/>
              <a:buChar char=""/>
              <a:tabLst>
                <a:tab pos="2413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Reeducación Profesional</a:t>
            </a:r>
          </a:p>
        </p:txBody>
      </p:sp>
      <p:sp>
        <p:nvSpPr>
          <p:cNvPr id="31" name="object 19">
            <a:extLst>
              <a:ext uri="{FF2B5EF4-FFF2-40B4-BE49-F238E27FC236}">
                <a16:creationId xmlns:a16="http://schemas.microsoft.com/office/drawing/2014/main" xmlns="" id="{82A8DF4F-2C6B-1244-BB74-035B91CA895B}"/>
              </a:ext>
            </a:extLst>
          </p:cNvPr>
          <p:cNvSpPr txBox="1"/>
          <p:nvPr/>
        </p:nvSpPr>
        <p:spPr>
          <a:xfrm>
            <a:off x="4902061" y="7406333"/>
            <a:ext cx="10181015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/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  <a:spcBef>
                <a:spcPts val="440"/>
              </a:spcBef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1CDCF3A-7247-7544-8B08-750AE2F6DA52}"/>
              </a:ext>
            </a:extLst>
          </p:cNvPr>
          <p:cNvSpPr txBox="1"/>
          <p:nvPr/>
        </p:nvSpPr>
        <p:spPr>
          <a:xfrm>
            <a:off x="-4997302" y="2615609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1" name="Triangle 60">
            <a:extLst>
              <a:ext uri="{FF2B5EF4-FFF2-40B4-BE49-F238E27FC236}">
                <a16:creationId xmlns:a16="http://schemas.microsoft.com/office/drawing/2014/main" xmlns="" id="{AC2F37E7-9ECA-9643-8CCC-29C5935B43D3}"/>
              </a:ext>
            </a:extLst>
          </p:cNvPr>
          <p:cNvSpPr/>
          <p:nvPr/>
        </p:nvSpPr>
        <p:spPr>
          <a:xfrm rot="10800000">
            <a:off x="12347014" y="2615157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xmlns="" id="{2BDA6CAA-FF43-3044-A164-1FC6F35D275A}"/>
              </a:ext>
            </a:extLst>
          </p:cNvPr>
          <p:cNvSpPr/>
          <p:nvPr/>
        </p:nvSpPr>
        <p:spPr>
          <a:xfrm rot="10800000">
            <a:off x="6532469" y="261335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B904247A-41D0-734F-9D12-B0FBF16A8EE7}"/>
              </a:ext>
            </a:extLst>
          </p:cNvPr>
          <p:cNvGrpSpPr/>
          <p:nvPr/>
        </p:nvGrpSpPr>
        <p:grpSpPr>
          <a:xfrm>
            <a:off x="9325148" y="5464029"/>
            <a:ext cx="1185830" cy="1008113"/>
            <a:chOff x="9685189" y="5464029"/>
            <a:chExt cx="1185830" cy="1008113"/>
          </a:xfrm>
        </p:grpSpPr>
        <p:sp>
          <p:nvSpPr>
            <p:cNvPr id="60" name="Triangle 59">
              <a:extLst>
                <a:ext uri="{FF2B5EF4-FFF2-40B4-BE49-F238E27FC236}">
                  <a16:creationId xmlns:a16="http://schemas.microsoft.com/office/drawing/2014/main" xmlns="" id="{D75CD144-8D77-4840-ACB0-048126969A37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4" name="Triangle 63">
              <a:extLst>
                <a:ext uri="{FF2B5EF4-FFF2-40B4-BE49-F238E27FC236}">
                  <a16:creationId xmlns:a16="http://schemas.microsoft.com/office/drawing/2014/main" xmlns="" id="{6E18A33B-A2E3-FC4D-ACDC-DAE063681B03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CE45ECE8-A7B9-5D4D-8BF1-06BD044E79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7011" y="4096992"/>
            <a:ext cx="737697" cy="75063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0E05819A-1866-354C-B049-367DAA4930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61447" y="4083885"/>
            <a:ext cx="679925" cy="92073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702922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19">
            <a:extLst>
              <a:ext uri="{FF2B5EF4-FFF2-40B4-BE49-F238E27FC236}">
                <a16:creationId xmlns:a16="http://schemas.microsoft.com/office/drawing/2014/main" xmlns="" id="{100CB87D-4FC4-B648-8204-5FE82AEAFBA7}"/>
              </a:ext>
            </a:extLst>
          </p:cNvPr>
          <p:cNvSpPr/>
          <p:nvPr/>
        </p:nvSpPr>
        <p:spPr>
          <a:xfrm>
            <a:off x="11053340" y="2472689"/>
            <a:ext cx="3863270" cy="469216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>
              <a:solidFill>
                <a:srgbClr val="15C047"/>
              </a:solidFill>
            </a:endParaRPr>
          </a:p>
        </p:txBody>
      </p:sp>
      <p:sp>
        <p:nvSpPr>
          <p:cNvPr id="32" name="Título 30">
            <a:extLst>
              <a:ext uri="{FF2B5EF4-FFF2-40B4-BE49-F238E27FC236}">
                <a16:creationId xmlns:a16="http://schemas.microsoft.com/office/drawing/2014/main" xmlns="" id="{D7F59CE7-26DD-6C48-8E85-846B04C53C32}"/>
              </a:ext>
            </a:extLst>
          </p:cNvPr>
          <p:cNvSpPr txBox="1">
            <a:spLocks/>
          </p:cNvSpPr>
          <p:nvPr/>
        </p:nvSpPr>
        <p:spPr>
          <a:xfrm>
            <a:off x="671737" y="845653"/>
            <a:ext cx="3265769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5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foque de gestión del riesgo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EAEADE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8189D41-B53E-BA4A-94F3-9FBA5CAA100A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chemeClr val="bg1"/>
                </a:solidFill>
                <a:latin typeface="ACHS Nueva Serif" pitchFamily="2" charset="77"/>
                <a:cs typeface="Arial" pitchFamily="34" charset="0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AC9C6E6-4A90-7042-A642-D5377C3A510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xmlns="" id="{B6E740FB-F9B1-3B43-BC2A-4AA6480ECE8D}"/>
              </a:ext>
            </a:extLst>
          </p:cNvPr>
          <p:cNvSpPr/>
          <p:nvPr/>
        </p:nvSpPr>
        <p:spPr>
          <a:xfrm>
            <a:off x="396156" y="2268314"/>
            <a:ext cx="341029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  <a:latin typeface="ACHS Nueva Serif" pitchFamily="2" charset="77"/>
                <a:cs typeface="Calibri" panose="020F0502020204030204" pitchFamily="34" charset="0"/>
              </a:rPr>
              <a:t>Empresas con presencia del agente con niveles sobre el criterio de acción: </a:t>
            </a:r>
          </a:p>
          <a:p>
            <a:endParaRPr lang="es-CL" sz="2000" b="1" dirty="0">
              <a:solidFill>
                <a:schemeClr val="bg1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1CDCF3A-7247-7544-8B08-750AE2F6DA52}"/>
              </a:ext>
            </a:extLst>
          </p:cNvPr>
          <p:cNvSpPr txBox="1"/>
          <p:nvPr/>
        </p:nvSpPr>
        <p:spPr>
          <a:xfrm>
            <a:off x="5035698" y="2942358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FCA3EFCF-3314-D945-8CC5-025D02465871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386F78E6-EA9A-BB44-AAB6-8EE593FD680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3703DD3C-CA6B-E648-A947-B8F83772F9A0}"/>
              </a:ext>
            </a:extLst>
          </p:cNvPr>
          <p:cNvSpPr/>
          <p:nvPr/>
        </p:nvSpPr>
        <p:spPr>
          <a:xfrm>
            <a:off x="527215" y="2067098"/>
            <a:ext cx="3252623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5" name="object 4">
            <a:extLst>
              <a:ext uri="{FF2B5EF4-FFF2-40B4-BE49-F238E27FC236}">
                <a16:creationId xmlns:a16="http://schemas.microsoft.com/office/drawing/2014/main" xmlns="" id="{77F2649F-DB05-5540-A268-5611B59B2CA7}"/>
              </a:ext>
            </a:extLst>
          </p:cNvPr>
          <p:cNvSpPr txBox="1"/>
          <p:nvPr/>
        </p:nvSpPr>
        <p:spPr>
          <a:xfrm>
            <a:off x="8173356" y="1943480"/>
            <a:ext cx="302400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400" b="1" spc="-55" dirty="0">
                <a:solidFill>
                  <a:srgbClr val="FFFFFF"/>
                </a:solidFill>
                <a:latin typeface="Trebuchet MS"/>
                <a:cs typeface="Trebuchet MS"/>
              </a:rPr>
              <a:t>SISTEMA </a:t>
            </a:r>
            <a:r>
              <a:rPr sz="2400" b="1" spc="-85" dirty="0">
                <a:solidFill>
                  <a:srgbClr val="FFFFFF"/>
                </a:solidFill>
                <a:latin typeface="Trebuchet MS"/>
                <a:cs typeface="Trebuchet MS"/>
              </a:rPr>
              <a:t>DE</a:t>
            </a:r>
            <a:r>
              <a:rPr sz="2400" b="1" spc="-28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2400" b="1" spc="-90" dirty="0">
                <a:solidFill>
                  <a:srgbClr val="FFFFFF"/>
                </a:solidFill>
                <a:latin typeface="Trebuchet MS"/>
                <a:cs typeface="Trebuchet MS"/>
              </a:rPr>
              <a:t>GESTIÓN</a:t>
            </a:r>
            <a:endParaRPr sz="2400" dirty="0">
              <a:latin typeface="Trebuchet MS"/>
              <a:cs typeface="Trebuchet MS"/>
            </a:endParaRPr>
          </a:p>
        </p:txBody>
      </p:sp>
      <p:sp>
        <p:nvSpPr>
          <p:cNvPr id="49" name="object 3">
            <a:extLst>
              <a:ext uri="{FF2B5EF4-FFF2-40B4-BE49-F238E27FC236}">
                <a16:creationId xmlns:a16="http://schemas.microsoft.com/office/drawing/2014/main" xmlns="" id="{7AA5593B-64C0-7F46-B487-57319F8F12FE}"/>
              </a:ext>
            </a:extLst>
          </p:cNvPr>
          <p:cNvSpPr/>
          <p:nvPr/>
        </p:nvSpPr>
        <p:spPr>
          <a:xfrm>
            <a:off x="4307052" y="1653099"/>
            <a:ext cx="10994760" cy="723325"/>
          </a:xfrm>
          <a:custGeom>
            <a:avLst/>
            <a:gdLst/>
            <a:ahLst/>
            <a:cxnLst/>
            <a:rect l="l" t="t" r="r" b="b"/>
            <a:pathLst>
              <a:path w="5961380" h="536575">
                <a:moveTo>
                  <a:pt x="5871591" y="0"/>
                </a:moveTo>
                <a:lnTo>
                  <a:pt x="89408" y="0"/>
                </a:lnTo>
                <a:lnTo>
                  <a:pt x="54596" y="7022"/>
                </a:lnTo>
                <a:lnTo>
                  <a:pt x="26177" y="26177"/>
                </a:lnTo>
                <a:lnTo>
                  <a:pt x="7022" y="54596"/>
                </a:lnTo>
                <a:lnTo>
                  <a:pt x="0" y="89408"/>
                </a:lnTo>
                <a:lnTo>
                  <a:pt x="0" y="447167"/>
                </a:lnTo>
                <a:lnTo>
                  <a:pt x="7022" y="481978"/>
                </a:lnTo>
                <a:lnTo>
                  <a:pt x="26177" y="510397"/>
                </a:lnTo>
                <a:lnTo>
                  <a:pt x="54596" y="529552"/>
                </a:lnTo>
                <a:lnTo>
                  <a:pt x="89408" y="536575"/>
                </a:lnTo>
                <a:lnTo>
                  <a:pt x="5871591" y="536575"/>
                </a:lnTo>
                <a:lnTo>
                  <a:pt x="5906422" y="529552"/>
                </a:lnTo>
                <a:lnTo>
                  <a:pt x="5934884" y="510397"/>
                </a:lnTo>
                <a:lnTo>
                  <a:pt x="5954083" y="481978"/>
                </a:lnTo>
                <a:lnTo>
                  <a:pt x="5961126" y="447167"/>
                </a:lnTo>
                <a:lnTo>
                  <a:pt x="5961126" y="89408"/>
                </a:lnTo>
                <a:lnTo>
                  <a:pt x="5954083" y="54596"/>
                </a:lnTo>
                <a:lnTo>
                  <a:pt x="5934884" y="26177"/>
                </a:lnTo>
                <a:lnTo>
                  <a:pt x="5906422" y="7022"/>
                </a:lnTo>
                <a:lnTo>
                  <a:pt x="5871591" y="0"/>
                </a:lnTo>
                <a:close/>
              </a:path>
            </a:pathLst>
          </a:custGeom>
          <a:solidFill>
            <a:srgbClr val="15C04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4">
            <a:extLst>
              <a:ext uri="{FF2B5EF4-FFF2-40B4-BE49-F238E27FC236}">
                <a16:creationId xmlns:a16="http://schemas.microsoft.com/office/drawing/2014/main" xmlns="" id="{4415FD1F-A043-F849-BB65-23EBC7E6A740}"/>
              </a:ext>
            </a:extLst>
          </p:cNvPr>
          <p:cNvSpPr txBox="1"/>
          <p:nvPr/>
        </p:nvSpPr>
        <p:spPr>
          <a:xfrm>
            <a:off x="8451067" y="1856021"/>
            <a:ext cx="2772000" cy="32060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ACHS Nueva Sans SemiBold" pitchFamily="2" charset="77"/>
                <a:cs typeface="Calibri" panose="020F0502020204030204" pitchFamily="34" charset="0"/>
              </a:rPr>
              <a:t>SISTEMA DE GESTIÓN</a:t>
            </a:r>
            <a:endParaRPr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58" name="object 19">
            <a:extLst>
              <a:ext uri="{FF2B5EF4-FFF2-40B4-BE49-F238E27FC236}">
                <a16:creationId xmlns:a16="http://schemas.microsoft.com/office/drawing/2014/main" xmlns="" id="{DD82A6C1-90D4-6844-ABD4-A617DB840B39}"/>
              </a:ext>
            </a:extLst>
          </p:cNvPr>
          <p:cNvSpPr txBox="1"/>
          <p:nvPr/>
        </p:nvSpPr>
        <p:spPr>
          <a:xfrm>
            <a:off x="4356596" y="7380882"/>
            <a:ext cx="10513168" cy="979755"/>
          </a:xfrm>
          <a:prstGeom prst="rect">
            <a:avLst/>
          </a:prstGeom>
          <a:solidFill>
            <a:srgbClr val="EAEADE"/>
          </a:solidFill>
          <a:ln w="9525">
            <a:solidFill>
              <a:srgbClr val="EAEADE">
                <a:alpha val="0"/>
              </a:srgbClr>
            </a:solidFill>
          </a:ln>
        </p:spPr>
        <p:txBody>
          <a:bodyPr vert="horz" wrap="square" lIns="0" tIns="55880" rIns="0" bIns="0" rtlCol="0">
            <a:spAutoFit/>
          </a:bodyPr>
          <a:lstStyle/>
          <a:p>
            <a:pPr marL="95250" marR="314960" algn="ctr">
              <a:lnSpc>
                <a:spcPct val="100000"/>
              </a:lnSpc>
            </a:pP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a empresa deberá tener un documento del Sistema de Gestión escrito o considerar todos los puntos que </a:t>
            </a: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solicita</a:t>
            </a:r>
            <a:r>
              <a:rPr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PREXOR en el SGSST de la empresa, además debe contar con un cronograma de implementación.</a:t>
            </a:r>
          </a:p>
        </p:txBody>
      </p:sp>
      <p:sp>
        <p:nvSpPr>
          <p:cNvPr id="60" name="Triangle 59">
            <a:extLst>
              <a:ext uri="{FF2B5EF4-FFF2-40B4-BE49-F238E27FC236}">
                <a16:creationId xmlns:a16="http://schemas.microsoft.com/office/drawing/2014/main" xmlns="" id="{87E5E7BE-0BD8-5346-8808-A1E4BF11B0A8}"/>
              </a:ext>
            </a:extLst>
          </p:cNvPr>
          <p:cNvSpPr/>
          <p:nvPr/>
        </p:nvSpPr>
        <p:spPr>
          <a:xfrm rot="10800000">
            <a:off x="6156560" y="2644133"/>
            <a:ext cx="1008113" cy="524124"/>
          </a:xfrm>
          <a:prstGeom prst="triangle">
            <a:avLst/>
          </a:prstGeom>
          <a:solidFill>
            <a:srgbClr val="15C047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2C4313F1-BBD0-714B-9061-0F8E76BCD6C5}"/>
              </a:ext>
            </a:extLst>
          </p:cNvPr>
          <p:cNvGrpSpPr/>
          <p:nvPr/>
        </p:nvGrpSpPr>
        <p:grpSpPr>
          <a:xfrm>
            <a:off x="9783719" y="4546866"/>
            <a:ext cx="1185830" cy="1008113"/>
            <a:chOff x="9685189" y="5464029"/>
            <a:chExt cx="1185830" cy="1008113"/>
          </a:xfrm>
        </p:grpSpPr>
        <p:sp>
          <p:nvSpPr>
            <p:cNvPr id="62" name="Triangle 61">
              <a:extLst>
                <a:ext uri="{FF2B5EF4-FFF2-40B4-BE49-F238E27FC236}">
                  <a16:creationId xmlns:a16="http://schemas.microsoft.com/office/drawing/2014/main" xmlns="" id="{4F15C657-5F6C-7D42-82F5-05B8C26617DD}"/>
                </a:ext>
              </a:extLst>
            </p:cNvPr>
            <p:cNvSpPr/>
            <p:nvPr/>
          </p:nvSpPr>
          <p:spPr>
            <a:xfrm rot="5400000">
              <a:off x="10104900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63" name="Triangle 62">
              <a:extLst>
                <a:ext uri="{FF2B5EF4-FFF2-40B4-BE49-F238E27FC236}">
                  <a16:creationId xmlns:a16="http://schemas.microsoft.com/office/drawing/2014/main" xmlns="" id="{020EB5C7-E14F-6B46-9C64-E18AEF3C2426}"/>
                </a:ext>
              </a:extLst>
            </p:cNvPr>
            <p:cNvSpPr/>
            <p:nvPr/>
          </p:nvSpPr>
          <p:spPr>
            <a:xfrm rot="16200000">
              <a:off x="9443194" y="5706024"/>
              <a:ext cx="1008113" cy="524124"/>
            </a:xfrm>
            <a:prstGeom prst="triangle">
              <a:avLst/>
            </a:prstGeom>
            <a:solidFill>
              <a:srgbClr val="15C047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xmlns="" id="{0690111A-9B21-C243-A8C2-B46A7BBE21BB}"/>
              </a:ext>
            </a:extLst>
          </p:cNvPr>
          <p:cNvGrpSpPr/>
          <p:nvPr/>
        </p:nvGrpSpPr>
        <p:grpSpPr>
          <a:xfrm>
            <a:off x="4270788" y="3422445"/>
            <a:ext cx="5342392" cy="3501311"/>
            <a:chOff x="-4576573" y="4196793"/>
            <a:chExt cx="4320891" cy="2831837"/>
          </a:xfrm>
        </p:grpSpPr>
        <p:sp>
          <p:nvSpPr>
            <p:cNvPr id="66" name="Rectángulo redondeado 17">
              <a:extLst>
                <a:ext uri="{FF2B5EF4-FFF2-40B4-BE49-F238E27FC236}">
                  <a16:creationId xmlns:a16="http://schemas.microsoft.com/office/drawing/2014/main" xmlns="" id="{479C90FE-0D76-9C45-B530-86D9AAD5F622}"/>
                </a:ext>
              </a:extLst>
            </p:cNvPr>
            <p:cNvSpPr/>
            <p:nvPr/>
          </p:nvSpPr>
          <p:spPr>
            <a:xfrm rot="227342">
              <a:off x="-4539160" y="4196793"/>
              <a:ext cx="4283478" cy="2802079"/>
            </a:xfrm>
            <a:prstGeom prst="roundRect">
              <a:avLst/>
            </a:prstGeom>
            <a:solidFill>
              <a:srgbClr val="15C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67" name="Rectángulo redondeado 18">
              <a:extLst>
                <a:ext uri="{FF2B5EF4-FFF2-40B4-BE49-F238E27FC236}">
                  <a16:creationId xmlns:a16="http://schemas.microsoft.com/office/drawing/2014/main" xmlns="" id="{4E676180-467D-C04B-95E1-2B35FD982F06}"/>
                </a:ext>
              </a:extLst>
            </p:cNvPr>
            <p:cNvSpPr/>
            <p:nvPr/>
          </p:nvSpPr>
          <p:spPr>
            <a:xfrm>
              <a:off x="-4576573" y="4226551"/>
              <a:ext cx="4283478" cy="2802079"/>
            </a:xfrm>
            <a:prstGeom prst="roundRect">
              <a:avLst/>
            </a:prstGeom>
            <a:solidFill>
              <a:srgbClr val="EA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68" name="object 9">
            <a:extLst>
              <a:ext uri="{FF2B5EF4-FFF2-40B4-BE49-F238E27FC236}">
                <a16:creationId xmlns:a16="http://schemas.microsoft.com/office/drawing/2014/main" xmlns="" id="{D5B30C56-48E1-9144-9685-DCD084A8DDAC}"/>
              </a:ext>
            </a:extLst>
          </p:cNvPr>
          <p:cNvSpPr txBox="1"/>
          <p:nvPr/>
        </p:nvSpPr>
        <p:spPr>
          <a:xfrm>
            <a:off x="5484799" y="4110829"/>
            <a:ext cx="3080961" cy="25058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indent="-254000">
              <a:lnSpc>
                <a:spcPct val="100000"/>
              </a:lnSpc>
              <a:spcBef>
                <a:spcPts val="100"/>
              </a:spcBef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 err="1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Identificación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 </a:t>
            </a: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del peligr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udio Previ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Medidas de Control de Ruido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b="1" dirty="0">
                <a:solidFill>
                  <a:srgbClr val="0C662F"/>
                </a:solidFill>
                <a:latin typeface="ACHS Nueva Sans ExtraBold" pitchFamily="2" charset="77"/>
                <a:cs typeface="Calibri" panose="020F0502020204030204" pitchFamily="34" charset="0"/>
              </a:rPr>
              <a:t>Programa de protección auditiva</a:t>
            </a:r>
          </a:p>
          <a:p>
            <a:pPr marL="266700" indent="-254000">
              <a:lnSpc>
                <a:spcPct val="100000"/>
              </a:lnSpc>
              <a:buSzPct val="91666"/>
              <a:buFont typeface="Wingdings"/>
              <a:buChar char=""/>
              <a:tabLst>
                <a:tab pos="266700" algn="l"/>
              </a:tabLst>
            </a:pPr>
            <a:r>
              <a:rPr sz="18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Capacitación</a:t>
            </a:r>
          </a:p>
        </p:txBody>
      </p:sp>
      <p:sp>
        <p:nvSpPr>
          <p:cNvPr id="69" name="object 12">
            <a:extLst>
              <a:ext uri="{FF2B5EF4-FFF2-40B4-BE49-F238E27FC236}">
                <a16:creationId xmlns:a16="http://schemas.microsoft.com/office/drawing/2014/main" xmlns="" id="{9CCBA925-BF67-9A46-B453-653FA2BFCD64}"/>
              </a:ext>
            </a:extLst>
          </p:cNvPr>
          <p:cNvSpPr txBox="1"/>
          <p:nvPr/>
        </p:nvSpPr>
        <p:spPr>
          <a:xfrm>
            <a:off x="5484799" y="3622606"/>
            <a:ext cx="27364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Vigilancia Ambiental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6A585EC2-99A7-564B-A596-87A220416B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8009" y="4107271"/>
            <a:ext cx="737697" cy="7506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470413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4194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: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Tiene por objetivo entregar a las empresas un formato tipo de un programa de protección  auditiva:</a:t>
            </a:r>
          </a:p>
          <a:p>
            <a:endParaRPr lang="es-CL" sz="2100" b="1" dirty="0">
              <a:solidFill>
                <a:srgbClr val="0C662F"/>
              </a:solidFill>
              <a:latin typeface="ACHS Nueva Serif" pitchFamily="2" charset="77"/>
              <a:cs typeface="Calibri" panose="020F0502020204030204" pitchFamily="34" charset="0"/>
            </a:endParaRPr>
          </a:p>
        </p:txBody>
      </p:sp>
      <p:sp>
        <p:nvSpPr>
          <p:cNvPr id="43" name="Rectangle 16">
            <a:extLst>
              <a:ext uri="{FF2B5EF4-FFF2-40B4-BE49-F238E27FC236}">
                <a16:creationId xmlns:a16="http://schemas.microsoft.com/office/drawing/2014/main" xmlns="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3</a:t>
            </a:r>
          </a:p>
        </p:txBody>
      </p:sp>
      <p:sp>
        <p:nvSpPr>
          <p:cNvPr id="18" name="object 6">
            <a:extLst>
              <a:ext uri="{FF2B5EF4-FFF2-40B4-BE49-F238E27FC236}">
                <a16:creationId xmlns:a16="http://schemas.microsoft.com/office/drawing/2014/main" xmlns="" id="{13766563-C04A-C344-888B-7C680F4721C7}"/>
              </a:ext>
            </a:extLst>
          </p:cNvPr>
          <p:cNvSpPr/>
          <p:nvPr/>
        </p:nvSpPr>
        <p:spPr>
          <a:xfrm>
            <a:off x="10045228" y="1447190"/>
            <a:ext cx="6173169" cy="794991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Rectángulo 1">
            <a:extLst>
              <a:ext uri="{FF2B5EF4-FFF2-40B4-BE49-F238E27FC236}">
                <a16:creationId xmlns:a16="http://schemas.microsoft.com/office/drawing/2014/main" xmlns="" id="{AD7E12E0-F192-B04D-A985-B82EC5E3BA45}"/>
              </a:ext>
            </a:extLst>
          </p:cNvPr>
          <p:cNvSpPr/>
          <p:nvPr/>
        </p:nvSpPr>
        <p:spPr>
          <a:xfrm>
            <a:off x="4405669" y="2314480"/>
            <a:ext cx="5912270" cy="30418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lang="es-CL" sz="19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Se debe acreditar elaboración e implementación de un Programa de protección auditiva que indique los procedimientos técnicos y administrativos para la selección, adquisición, mantención, almacenamiento  e inspección de los elementos de protección auditiva. </a:t>
            </a:r>
          </a:p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endParaRPr lang="es-CL" sz="19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lang="es-CL" sz="19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Y acreditar mediante registro escrito la difusión  del programa de protección auditiva a todos los trabajadores expuestos a ruido laboral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60352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4194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: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Se deben orientar los esfuerzos a verificar en terreno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:a16="http://schemas.microsoft.com/office/drawing/2014/main" xmlns="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3</a:t>
            </a:r>
          </a:p>
        </p:txBody>
      </p:sp>
      <p:sp>
        <p:nvSpPr>
          <p:cNvPr id="11" name="Rectángulo 1">
            <a:extLst>
              <a:ext uri="{FF2B5EF4-FFF2-40B4-BE49-F238E27FC236}">
                <a16:creationId xmlns:a16="http://schemas.microsoft.com/office/drawing/2014/main" xmlns="" id="{4C277FF1-C4F9-3B45-84A7-FF4E2FD15F8F}"/>
              </a:ext>
            </a:extLst>
          </p:cNvPr>
          <p:cNvSpPr/>
          <p:nvPr/>
        </p:nvSpPr>
        <p:spPr>
          <a:xfrm>
            <a:off x="4405669" y="2314480"/>
            <a:ext cx="7452716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5125" indent="-365125" algn="just">
              <a:lnSpc>
                <a:spcPct val="100000"/>
              </a:lnSpc>
              <a:buAutoNum type="alphaLcPeriod"/>
              <a:tabLst>
                <a:tab pos="365125" algn="l"/>
              </a:tabLst>
            </a:pPr>
            <a:r>
              <a:rPr lang="es-CL" sz="2000" b="1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Certificación y Ficha Técnica del EPA.</a:t>
            </a:r>
          </a:p>
          <a:p>
            <a:pPr marL="365125" indent="-365125" algn="just">
              <a:lnSpc>
                <a:spcPct val="100000"/>
              </a:lnSpc>
              <a:buFont typeface="Arial"/>
              <a:buAutoNum type="alphaLcPeriod"/>
              <a:tabLst>
                <a:tab pos="365125" algn="l"/>
              </a:tabLst>
            </a:pPr>
            <a:endParaRPr lang="es-CL" sz="2000" b="1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365125" indent="-365125" algn="just">
              <a:lnSpc>
                <a:spcPct val="100000"/>
              </a:lnSpc>
              <a:buAutoNum type="alphaLcPeriod"/>
              <a:tabLst>
                <a:tab pos="365125" algn="l"/>
              </a:tabLst>
            </a:pPr>
            <a:r>
              <a:rPr lang="es-CL" sz="2000" b="1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Inspección visual.</a:t>
            </a:r>
          </a:p>
          <a:p>
            <a:pPr algn="just">
              <a:lnSpc>
                <a:spcPct val="100000"/>
              </a:lnSpc>
              <a:tabLst>
                <a:tab pos="365125" algn="l"/>
              </a:tabLst>
            </a:pPr>
            <a:endParaRPr lang="es-CL" sz="2000" b="1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365125" indent="-365125" algn="just">
              <a:lnSpc>
                <a:spcPct val="100000"/>
              </a:lnSpc>
              <a:buAutoNum type="alphaLcPeriod"/>
              <a:tabLst>
                <a:tab pos="365125" algn="l"/>
              </a:tabLst>
            </a:pPr>
            <a:r>
              <a:rPr lang="es-CL" sz="2000" b="1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Orejeras</a:t>
            </a:r>
          </a:p>
          <a:p>
            <a:pPr marL="1020444" algn="just">
              <a:lnSpc>
                <a:spcPct val="100000"/>
              </a:lnSpc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020444" algn="just">
              <a:lnSpc>
                <a:spcPct val="100000"/>
              </a:lnSpc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020444" algn="just">
              <a:lnSpc>
                <a:spcPct val="100000"/>
              </a:lnSpc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365125" indent="-352425" algn="just">
              <a:lnSpc>
                <a:spcPct val="100000"/>
              </a:lnSpc>
              <a:buFont typeface="Wingdings"/>
              <a:buChar char=""/>
              <a:tabLst>
                <a:tab pos="365125" algn="l"/>
              </a:tabLst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Fuerza del arnés: observar el ajuste en la cabeza de la persona.</a:t>
            </a:r>
          </a:p>
          <a:p>
            <a:pPr marL="365125" marR="107950" indent="-352425" algn="just">
              <a:lnSpc>
                <a:spcPct val="100000"/>
              </a:lnSpc>
              <a:buFont typeface="Wingdings"/>
              <a:buChar char=""/>
              <a:tabLst>
                <a:tab pos="365125" algn="l"/>
              </a:tabLst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lmohadillas: observar que no estén agrietadas, resquebrajadas, arrugadas  o endurecidas.</a:t>
            </a:r>
          </a:p>
          <a:p>
            <a:pPr marL="365125" marR="5080" indent="-352425" algn="just">
              <a:lnSpc>
                <a:spcPct val="100000"/>
              </a:lnSpc>
              <a:buFont typeface="Wingdings"/>
              <a:buChar char=""/>
              <a:tabLst>
                <a:tab pos="365125" algn="l"/>
              </a:tabLst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Relleno: observar que cuenten con relleno y que éste no presenten suciedad  o desgaste excesivo.</a:t>
            </a:r>
          </a:p>
          <a:p>
            <a:pPr marL="365125" indent="-352425" algn="just">
              <a:lnSpc>
                <a:spcPct val="100000"/>
              </a:lnSpc>
              <a:buFont typeface="Wingdings"/>
              <a:buChar char=""/>
              <a:tabLst>
                <a:tab pos="365125" algn="l"/>
              </a:tabLst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Compatibilidad con otros EPP o accesorios de ropa.</a:t>
            </a:r>
          </a:p>
          <a:p>
            <a:pPr marL="1020444" algn="just">
              <a:lnSpc>
                <a:spcPct val="100000"/>
              </a:lnSpc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15A83FCF-691C-E04A-A264-22CB2633743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272058" y="3083229"/>
            <a:ext cx="3406776" cy="34792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514376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3219B359-7AF0-A44E-8494-EC45787E7F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300" y="2772370"/>
            <a:ext cx="5080927" cy="5913865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4194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: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Se deben orientar los esfuerzos a verificar en terreno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:a16="http://schemas.microsoft.com/office/drawing/2014/main" xmlns="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3</a:t>
            </a:r>
          </a:p>
        </p:txBody>
      </p:sp>
      <p:sp>
        <p:nvSpPr>
          <p:cNvPr id="12" name="Rectángulo 1">
            <a:extLst>
              <a:ext uri="{FF2B5EF4-FFF2-40B4-BE49-F238E27FC236}">
                <a16:creationId xmlns:a16="http://schemas.microsoft.com/office/drawing/2014/main" xmlns="" id="{C4926B85-A733-7D48-92D7-F20768FDDD02}"/>
              </a:ext>
            </a:extLst>
          </p:cNvPr>
          <p:cNvSpPr/>
          <p:nvPr/>
        </p:nvSpPr>
        <p:spPr>
          <a:xfrm>
            <a:off x="4405668" y="2052290"/>
            <a:ext cx="7871808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6075" indent="-333375" algn="just" defTabSz="9864725">
              <a:lnSpc>
                <a:spcPct val="100000"/>
              </a:lnSpc>
              <a:buFont typeface="Wingdings"/>
              <a:buChar char=""/>
              <a:tabLst>
                <a:tab pos="441325" algn="l"/>
              </a:tabLst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os tapones desechable se deben reemplazar cada vez que se retiran del conducto auditivo.</a:t>
            </a:r>
          </a:p>
          <a:p>
            <a:pPr marL="346075" indent="-333375" algn="just" defTabSz="9864725">
              <a:lnSpc>
                <a:spcPct val="100000"/>
              </a:lnSpc>
              <a:buFont typeface="Wingdings"/>
              <a:buChar char=""/>
              <a:tabLst>
                <a:tab pos="441325" algn="l"/>
              </a:tabLst>
            </a:pPr>
            <a:endParaRPr lang="es-CL" sz="2000" b="1" dirty="0">
              <a:solidFill>
                <a:srgbClr val="000000"/>
              </a:solidFill>
              <a:latin typeface="ACHS Nueva Sans SemiBold" pitchFamily="2" charset="77"/>
              <a:cs typeface="Calibri" panose="020F0502020204030204" pitchFamily="34" charset="0"/>
            </a:endParaRPr>
          </a:p>
          <a:p>
            <a:pPr marL="346075" indent="-333375" algn="just" defTabSz="9864725">
              <a:lnSpc>
                <a:spcPct val="100000"/>
              </a:lnSpc>
              <a:buFont typeface="Wingdings"/>
              <a:buChar char=""/>
              <a:tabLst>
                <a:tab pos="441325" algn="l"/>
              </a:tabLst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No son recomendables en ambientes de trabajo sucios.</a:t>
            </a:r>
          </a:p>
          <a:p>
            <a:pPr marL="346075" marR="427355" indent="-333375" algn="just" defTabSz="9864725">
              <a:lnSpc>
                <a:spcPct val="100000"/>
              </a:lnSpc>
              <a:buFont typeface="Wingdings"/>
              <a:buChar char=""/>
              <a:tabLst>
                <a:tab pos="441325" algn="l"/>
              </a:tabLst>
            </a:pPr>
            <a:endParaRPr lang="es-CL" sz="2000" b="1" dirty="0">
              <a:solidFill>
                <a:srgbClr val="000000"/>
              </a:solidFill>
              <a:latin typeface="ACHS Nueva Sans SemiBold" pitchFamily="2" charset="77"/>
              <a:cs typeface="Calibri" panose="020F0502020204030204" pitchFamily="34" charset="0"/>
            </a:endParaRPr>
          </a:p>
          <a:p>
            <a:pPr marL="346075" marR="427355" indent="-333375" algn="just" defTabSz="9864725">
              <a:lnSpc>
                <a:spcPct val="100000"/>
              </a:lnSpc>
              <a:buFont typeface="Wingdings"/>
              <a:buChar char=""/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Los reutilizables se deben lavar al menos 1 vez a la semana, según recomendación del  fabricante y almacenar en un estuche apropiado. </a:t>
            </a:r>
          </a:p>
          <a:p>
            <a:pPr marL="346075" indent="-333375" algn="just" defTabSz="9864725">
              <a:lnSpc>
                <a:spcPct val="100000"/>
              </a:lnSpc>
              <a:buFont typeface="Wingdings"/>
              <a:buChar char=""/>
              <a:tabLst>
                <a:tab pos="441325" algn="l"/>
              </a:tabLst>
            </a:pPr>
            <a:endParaRPr lang="es-CL" sz="2000" b="1" dirty="0">
              <a:solidFill>
                <a:srgbClr val="000000"/>
              </a:solidFill>
              <a:latin typeface="ACHS Nueva Sans SemiBold" pitchFamily="2" charset="77"/>
              <a:cs typeface="Calibri" panose="020F0502020204030204" pitchFamily="34" charset="0"/>
            </a:endParaRPr>
          </a:p>
          <a:p>
            <a:pPr marL="346075" indent="-333375" algn="just" defTabSz="9864725">
              <a:lnSpc>
                <a:spcPct val="100000"/>
              </a:lnSpc>
              <a:buFont typeface="Wingdings"/>
              <a:buChar char=""/>
              <a:tabLst>
                <a:tab pos="441325" algn="l"/>
              </a:tabLst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Correcta colocación del tapón auditivo.</a:t>
            </a:r>
          </a:p>
        </p:txBody>
      </p:sp>
      <p:sp>
        <p:nvSpPr>
          <p:cNvPr id="16" name="object 5">
            <a:extLst>
              <a:ext uri="{FF2B5EF4-FFF2-40B4-BE49-F238E27FC236}">
                <a16:creationId xmlns:a16="http://schemas.microsoft.com/office/drawing/2014/main" xmlns="" id="{06AE85D5-60A7-DF45-A5B1-1F187F41DFFB}"/>
              </a:ext>
            </a:extLst>
          </p:cNvPr>
          <p:cNvSpPr txBox="1"/>
          <p:nvPr/>
        </p:nvSpPr>
        <p:spPr>
          <a:xfrm>
            <a:off x="10873572" y="6679856"/>
            <a:ext cx="2268000" cy="629018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Tapones Auditivo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25003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4194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: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Se deben orientar los esfuerzos a verificar en terreno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:a16="http://schemas.microsoft.com/office/drawing/2014/main" xmlns="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3</a:t>
            </a:r>
          </a:p>
        </p:txBody>
      </p:sp>
      <p:sp>
        <p:nvSpPr>
          <p:cNvPr id="13" name="Rectángulo 1">
            <a:extLst>
              <a:ext uri="{FF2B5EF4-FFF2-40B4-BE49-F238E27FC236}">
                <a16:creationId xmlns:a16="http://schemas.microsoft.com/office/drawing/2014/main" xmlns="" id="{35F7BD9D-16E2-C04E-B3AB-0F0487BEF91B}"/>
              </a:ext>
            </a:extLst>
          </p:cNvPr>
          <p:cNvSpPr/>
          <p:nvPr/>
        </p:nvSpPr>
        <p:spPr>
          <a:xfrm>
            <a:off x="4405668" y="1836266"/>
            <a:ext cx="1089614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39738" marR="5080" indent="-427038" algn="just">
              <a:lnSpc>
                <a:spcPct val="100000"/>
              </a:lnSpc>
              <a:buAutoNum type="arabicPeriod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Se debe incluir a todos los trabajadores que están expuestos a niveles sobre los  criterios de acción.</a:t>
            </a:r>
          </a:p>
          <a:p>
            <a:pPr marL="439738" indent="-427038" algn="just">
              <a:lnSpc>
                <a:spcPct val="100000"/>
              </a:lnSpc>
              <a:buFont typeface="Arial"/>
              <a:buAutoNum type="arabicPeriod"/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439738" marR="15875" indent="-427038" algn="just">
              <a:lnSpc>
                <a:spcPct val="100000"/>
              </a:lnSpc>
              <a:buAutoNum type="arabicPeriod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l trabajador deberá permanecer en vigilancia auditiva el período que dure su exposición  al ruido en su lugar de trabajo.</a:t>
            </a:r>
          </a:p>
          <a:p>
            <a:pPr marL="439738" indent="-427038" algn="just">
              <a:lnSpc>
                <a:spcPct val="100000"/>
              </a:lnSpc>
              <a:buFont typeface="Arial"/>
              <a:buAutoNum type="arabicPeriod"/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439738" marR="15875" indent="-427038" algn="just">
              <a:lnSpc>
                <a:spcPct val="100000"/>
              </a:lnSpc>
              <a:buFont typeface="Arial"/>
              <a:buAutoNum type="arabicPeriod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Define los tipos de audiometrías (base, seguimiento, confirmación y egreso y para programa de conservación auditiva). </a:t>
            </a:r>
          </a:p>
          <a:p>
            <a:pPr marL="439738" marR="15875" indent="-427038" algn="just">
              <a:lnSpc>
                <a:spcPct val="100000"/>
              </a:lnSpc>
              <a:buFont typeface="Arial"/>
              <a:buAutoNum type="arabicPeriod"/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439738" indent="-427038" algn="just">
              <a:lnSpc>
                <a:spcPct val="100000"/>
              </a:lnSpc>
              <a:buAutoNum type="arabicPeriod"/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eriodicidad de Audiometrías.</a:t>
            </a:r>
          </a:p>
        </p:txBody>
      </p:sp>
      <p:graphicFrame>
        <p:nvGraphicFramePr>
          <p:cNvPr id="18" name="object 5">
            <a:extLst>
              <a:ext uri="{FF2B5EF4-FFF2-40B4-BE49-F238E27FC236}">
                <a16:creationId xmlns:a16="http://schemas.microsoft.com/office/drawing/2014/main" xmlns="" id="{E66540F9-5F1E-6240-856B-AA0402BA30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4545527"/>
              </p:ext>
            </p:extLst>
          </p:nvPr>
        </p:nvGraphicFramePr>
        <p:xfrm>
          <a:off x="5191700" y="5302639"/>
          <a:ext cx="10297145" cy="3116986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17281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82453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04867">
                <a:tc>
                  <a:txBody>
                    <a:bodyPr/>
                    <a:lstStyle/>
                    <a:p>
                      <a:pPr marL="0" marR="7493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s-CL" sz="2000" b="1" i="0" spc="0" noProof="0" dirty="0">
                          <a:latin typeface="ACHS Nueva Sans SemiBold" pitchFamily="2" charset="77"/>
                        </a:rPr>
                        <a:t>Nivel de  Seguimiento </a:t>
                      </a:r>
                      <a:endParaRPr lang="es-CL" sz="2000" b="1" i="0" spc="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SemiBold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275" marB="0" anchor="ctr">
                    <a:solidFill>
                      <a:srgbClr val="15C04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s-CL" sz="2000" b="1" i="0" spc="0" noProof="0" dirty="0">
                          <a:latin typeface="ACHS Nueva Sans SemiBold" pitchFamily="2" charset="77"/>
                        </a:rPr>
                        <a:t>Exposición Ocupacional a Ruido </a:t>
                      </a:r>
                      <a:endParaRPr lang="es-CL" sz="2000" b="1" i="0" spc="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SemiBold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275" marB="0" anchor="ctr">
                    <a:solidFill>
                      <a:srgbClr val="15C0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838200" indent="0" algn="ctr" defTabSz="0">
                        <a:lnSpc>
                          <a:spcPct val="100000"/>
                        </a:lnSpc>
                        <a:spcBef>
                          <a:spcPts val="0"/>
                        </a:spcBef>
                        <a:tabLst/>
                      </a:pPr>
                      <a:r>
                        <a:rPr lang="es-CL" sz="2000" b="1" i="0" spc="0" noProof="0" dirty="0">
                          <a:latin typeface="ACHS Nueva Sans SemiBold" pitchFamily="2" charset="77"/>
                        </a:rPr>
                        <a:t>         Periodicidad de Audiometrías</a:t>
                      </a:r>
                      <a:endParaRPr lang="es-CL" sz="2000" b="1" i="0" spc="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SemiBold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275" marB="0" anchor="ctr">
                    <a:solidFill>
                      <a:srgbClr val="15C0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4867">
                <a:tc>
                  <a:txBody>
                    <a:bodyPr/>
                    <a:lstStyle/>
                    <a:p>
                      <a:pPr marL="9779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1" i="0" spc="0" dirty="0">
                          <a:latin typeface="ACHS Nueva Sans Medium" pitchFamily="2" charset="77"/>
                        </a:rPr>
                        <a:t>I </a:t>
                      </a:r>
                      <a:endParaRPr sz="2000" b="1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9525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0.5 ≤ DRD ≤ 1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1193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Cada 3 años 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04867">
                <a:tc>
                  <a:txBody>
                    <a:bodyPr/>
                    <a:lstStyle/>
                    <a:p>
                      <a:pPr marL="9779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1" i="0" spc="0" dirty="0">
                          <a:latin typeface="ACHS Nueva Sans Medium" pitchFamily="2" charset="77"/>
                        </a:rPr>
                        <a:t>II </a:t>
                      </a:r>
                      <a:endParaRPr sz="2000" b="1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9525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1 &lt; DRD ≤ 10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1193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Cada 2 años 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04867">
                <a:tc>
                  <a:txBody>
                    <a:bodyPr/>
                    <a:lstStyle/>
                    <a:p>
                      <a:pPr marL="9779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1" i="0" spc="0" dirty="0">
                          <a:latin typeface="ACHS Nueva Sans Medium" pitchFamily="2" charset="77"/>
                        </a:rPr>
                        <a:t>III </a:t>
                      </a:r>
                      <a:endParaRPr sz="2000" b="1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9525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DRD &gt;10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1193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Cada 1 año 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04867">
                <a:tc>
                  <a:txBody>
                    <a:bodyPr/>
                    <a:lstStyle/>
                    <a:p>
                      <a:pPr marL="9779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1" i="0" spc="0" dirty="0">
                          <a:latin typeface="ACHS Nueva Sans Medium" pitchFamily="2" charset="77"/>
                        </a:rPr>
                        <a:t>IV </a:t>
                      </a:r>
                      <a:endParaRPr sz="2000" b="1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9525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Ruido Impulsivo ≥ 135 dB(C) Peak 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tc>
                  <a:txBody>
                    <a:bodyPr/>
                    <a:lstStyle/>
                    <a:p>
                      <a:pPr marL="1193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2000" b="0" i="0" spc="0" dirty="0">
                          <a:latin typeface="ACHS Nueva Sans Medium" pitchFamily="2" charset="77"/>
                        </a:rPr>
                        <a:t>Cada 6 meses </a:t>
                      </a:r>
                      <a:endParaRPr sz="2000" b="0" i="0" spc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CHS Nueva Sans Medium" pitchFamily="2" charset="77"/>
                        <a:cs typeface="Calibri" panose="020F0502020204030204" pitchFamily="34" charset="0"/>
                      </a:endParaRPr>
                    </a:p>
                  </a:txBody>
                  <a:tcPr marL="0" marR="0" marT="4191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38019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3">
            <a:extLst>
              <a:ext uri="{FF2B5EF4-FFF2-40B4-BE49-F238E27FC236}">
                <a16:creationId xmlns:a16="http://schemas.microsoft.com/office/drawing/2014/main" xmlns="" id="{F736BF5A-7AEC-7547-85DA-5DFD9E67F746}"/>
              </a:ext>
            </a:extLst>
          </p:cNvPr>
          <p:cNvSpPr/>
          <p:nvPr/>
        </p:nvSpPr>
        <p:spPr>
          <a:xfrm>
            <a:off x="4788644" y="2433877"/>
            <a:ext cx="6336704" cy="1116024"/>
          </a:xfrm>
          <a:custGeom>
            <a:avLst/>
            <a:gdLst/>
            <a:ahLst/>
            <a:cxnLst/>
            <a:rect l="l" t="t" r="r" b="b"/>
            <a:pathLst>
              <a:path w="5544820" h="913130">
                <a:moveTo>
                  <a:pt x="5392483" y="0"/>
                </a:moveTo>
                <a:lnTo>
                  <a:pt x="152095" y="0"/>
                </a:lnTo>
                <a:lnTo>
                  <a:pt x="104022" y="7752"/>
                </a:lnTo>
                <a:lnTo>
                  <a:pt x="62270" y="29342"/>
                </a:lnTo>
                <a:lnTo>
                  <a:pt x="29346" y="62270"/>
                </a:lnTo>
                <a:lnTo>
                  <a:pt x="7754" y="104038"/>
                </a:lnTo>
                <a:lnTo>
                  <a:pt x="0" y="152146"/>
                </a:lnTo>
                <a:lnTo>
                  <a:pt x="0" y="760476"/>
                </a:lnTo>
                <a:lnTo>
                  <a:pt x="7754" y="808583"/>
                </a:lnTo>
                <a:lnTo>
                  <a:pt x="29346" y="850351"/>
                </a:lnTo>
                <a:lnTo>
                  <a:pt x="62270" y="883279"/>
                </a:lnTo>
                <a:lnTo>
                  <a:pt x="104022" y="904869"/>
                </a:lnTo>
                <a:lnTo>
                  <a:pt x="152095" y="912622"/>
                </a:lnTo>
                <a:lnTo>
                  <a:pt x="5392483" y="912622"/>
                </a:lnTo>
                <a:lnTo>
                  <a:pt x="5440591" y="904869"/>
                </a:lnTo>
                <a:lnTo>
                  <a:pt x="5482358" y="883279"/>
                </a:lnTo>
                <a:lnTo>
                  <a:pt x="5515287" y="850351"/>
                </a:lnTo>
                <a:lnTo>
                  <a:pt x="5536877" y="808583"/>
                </a:lnTo>
                <a:lnTo>
                  <a:pt x="5544629" y="760476"/>
                </a:lnTo>
                <a:lnTo>
                  <a:pt x="5544629" y="152146"/>
                </a:lnTo>
                <a:lnTo>
                  <a:pt x="5536877" y="104038"/>
                </a:lnTo>
                <a:lnTo>
                  <a:pt x="5515287" y="62270"/>
                </a:lnTo>
                <a:lnTo>
                  <a:pt x="5482358" y="29342"/>
                </a:lnTo>
                <a:lnTo>
                  <a:pt x="5440591" y="7752"/>
                </a:lnTo>
                <a:lnTo>
                  <a:pt x="5392483" y="0"/>
                </a:lnTo>
                <a:close/>
              </a:path>
            </a:pathLst>
          </a:custGeom>
          <a:solidFill>
            <a:srgbClr val="EAEA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4">
            <a:extLst>
              <a:ext uri="{FF2B5EF4-FFF2-40B4-BE49-F238E27FC236}">
                <a16:creationId xmlns:a16="http://schemas.microsoft.com/office/drawing/2014/main" xmlns="" id="{2031F994-A50A-1040-914F-42CDC28084F2}"/>
              </a:ext>
            </a:extLst>
          </p:cNvPr>
          <p:cNvSpPr txBox="1">
            <a:spLocks/>
          </p:cNvSpPr>
          <p:nvPr/>
        </p:nvSpPr>
        <p:spPr>
          <a:xfrm>
            <a:off x="5082366" y="2741943"/>
            <a:ext cx="2686144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l">
              <a:spcBef>
                <a:spcPts val="100"/>
              </a:spcBef>
            </a:pPr>
            <a:r>
              <a:rPr lang="es-CL" sz="3200" b="1" dirty="0">
                <a:solidFill>
                  <a:srgbClr val="15C04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ridad</a:t>
            </a:r>
          </a:p>
        </p:txBody>
      </p:sp>
      <p:sp>
        <p:nvSpPr>
          <p:cNvPr id="21" name="object 5">
            <a:extLst>
              <a:ext uri="{FF2B5EF4-FFF2-40B4-BE49-F238E27FC236}">
                <a16:creationId xmlns:a16="http://schemas.microsoft.com/office/drawing/2014/main" xmlns="" id="{ECC0CB63-35AD-EA42-8306-782C977A7CE4}"/>
              </a:ext>
            </a:extLst>
          </p:cNvPr>
          <p:cNvSpPr/>
          <p:nvPr/>
        </p:nvSpPr>
        <p:spPr>
          <a:xfrm>
            <a:off x="4788644" y="3710894"/>
            <a:ext cx="6336704" cy="1116024"/>
          </a:xfrm>
          <a:custGeom>
            <a:avLst/>
            <a:gdLst/>
            <a:ahLst/>
            <a:cxnLst/>
            <a:rect l="l" t="t" r="r" b="b"/>
            <a:pathLst>
              <a:path w="5544820" h="913129">
                <a:moveTo>
                  <a:pt x="5392483" y="0"/>
                </a:moveTo>
                <a:lnTo>
                  <a:pt x="152095" y="0"/>
                </a:lnTo>
                <a:lnTo>
                  <a:pt x="104022" y="7752"/>
                </a:lnTo>
                <a:lnTo>
                  <a:pt x="62270" y="29342"/>
                </a:lnTo>
                <a:lnTo>
                  <a:pt x="29346" y="62270"/>
                </a:lnTo>
                <a:lnTo>
                  <a:pt x="7754" y="104038"/>
                </a:lnTo>
                <a:lnTo>
                  <a:pt x="0" y="152146"/>
                </a:lnTo>
                <a:lnTo>
                  <a:pt x="0" y="760476"/>
                </a:lnTo>
                <a:lnTo>
                  <a:pt x="7754" y="808583"/>
                </a:lnTo>
                <a:lnTo>
                  <a:pt x="29346" y="850351"/>
                </a:lnTo>
                <a:lnTo>
                  <a:pt x="62270" y="883279"/>
                </a:lnTo>
                <a:lnTo>
                  <a:pt x="104022" y="904869"/>
                </a:lnTo>
                <a:lnTo>
                  <a:pt x="152095" y="912622"/>
                </a:lnTo>
                <a:lnTo>
                  <a:pt x="5392483" y="912622"/>
                </a:lnTo>
                <a:lnTo>
                  <a:pt x="5440591" y="904869"/>
                </a:lnTo>
                <a:lnTo>
                  <a:pt x="5482358" y="883279"/>
                </a:lnTo>
                <a:lnTo>
                  <a:pt x="5515287" y="850351"/>
                </a:lnTo>
                <a:lnTo>
                  <a:pt x="5536877" y="808583"/>
                </a:lnTo>
                <a:lnTo>
                  <a:pt x="5544629" y="760476"/>
                </a:lnTo>
                <a:lnTo>
                  <a:pt x="5544629" y="152146"/>
                </a:lnTo>
                <a:lnTo>
                  <a:pt x="5536877" y="104038"/>
                </a:lnTo>
                <a:lnTo>
                  <a:pt x="5515287" y="62270"/>
                </a:lnTo>
                <a:lnTo>
                  <a:pt x="5482358" y="29342"/>
                </a:lnTo>
                <a:lnTo>
                  <a:pt x="5440591" y="7752"/>
                </a:lnTo>
                <a:lnTo>
                  <a:pt x="5392483" y="0"/>
                </a:lnTo>
                <a:close/>
              </a:path>
            </a:pathLst>
          </a:custGeom>
          <a:solidFill>
            <a:srgbClr val="EAEA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6">
            <a:extLst>
              <a:ext uri="{FF2B5EF4-FFF2-40B4-BE49-F238E27FC236}">
                <a16:creationId xmlns:a16="http://schemas.microsoft.com/office/drawing/2014/main" xmlns="" id="{F3A09AB3-39B3-944A-823B-B77EEBEB8076}"/>
              </a:ext>
            </a:extLst>
          </p:cNvPr>
          <p:cNvSpPr/>
          <p:nvPr/>
        </p:nvSpPr>
        <p:spPr>
          <a:xfrm>
            <a:off x="4788644" y="5023817"/>
            <a:ext cx="6336704" cy="1116024"/>
          </a:xfrm>
          <a:custGeom>
            <a:avLst/>
            <a:gdLst/>
            <a:ahLst/>
            <a:cxnLst/>
            <a:rect l="l" t="t" r="r" b="b"/>
            <a:pathLst>
              <a:path w="5544820" h="913129">
                <a:moveTo>
                  <a:pt x="5392483" y="0"/>
                </a:moveTo>
                <a:lnTo>
                  <a:pt x="152095" y="0"/>
                </a:lnTo>
                <a:lnTo>
                  <a:pt x="104022" y="7764"/>
                </a:lnTo>
                <a:lnTo>
                  <a:pt x="62270" y="29378"/>
                </a:lnTo>
                <a:lnTo>
                  <a:pt x="29346" y="62325"/>
                </a:lnTo>
                <a:lnTo>
                  <a:pt x="7754" y="104087"/>
                </a:lnTo>
                <a:lnTo>
                  <a:pt x="0" y="152146"/>
                </a:lnTo>
                <a:lnTo>
                  <a:pt x="0" y="760603"/>
                </a:lnTo>
                <a:lnTo>
                  <a:pt x="7754" y="808648"/>
                </a:lnTo>
                <a:lnTo>
                  <a:pt x="29346" y="850378"/>
                </a:lnTo>
                <a:lnTo>
                  <a:pt x="62270" y="883288"/>
                </a:lnTo>
                <a:lnTo>
                  <a:pt x="104022" y="904870"/>
                </a:lnTo>
                <a:lnTo>
                  <a:pt x="152095" y="912622"/>
                </a:lnTo>
                <a:lnTo>
                  <a:pt x="5392483" y="912622"/>
                </a:lnTo>
                <a:lnTo>
                  <a:pt x="5440591" y="904870"/>
                </a:lnTo>
                <a:lnTo>
                  <a:pt x="5482358" y="883288"/>
                </a:lnTo>
                <a:lnTo>
                  <a:pt x="5515287" y="850378"/>
                </a:lnTo>
                <a:lnTo>
                  <a:pt x="5536877" y="808648"/>
                </a:lnTo>
                <a:lnTo>
                  <a:pt x="5544629" y="760603"/>
                </a:lnTo>
                <a:lnTo>
                  <a:pt x="5544629" y="152146"/>
                </a:lnTo>
                <a:lnTo>
                  <a:pt x="5536877" y="104087"/>
                </a:lnTo>
                <a:lnTo>
                  <a:pt x="5515287" y="62325"/>
                </a:lnTo>
                <a:lnTo>
                  <a:pt x="5482358" y="29378"/>
                </a:lnTo>
                <a:lnTo>
                  <a:pt x="5440591" y="7764"/>
                </a:lnTo>
                <a:lnTo>
                  <a:pt x="5392483" y="0"/>
                </a:lnTo>
                <a:close/>
              </a:path>
            </a:pathLst>
          </a:custGeom>
          <a:solidFill>
            <a:srgbClr val="EAEA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7">
            <a:extLst>
              <a:ext uri="{FF2B5EF4-FFF2-40B4-BE49-F238E27FC236}">
                <a16:creationId xmlns:a16="http://schemas.microsoft.com/office/drawing/2014/main" xmlns="" id="{208AE475-947B-3543-ACD1-A6545507B078}"/>
              </a:ext>
            </a:extLst>
          </p:cNvPr>
          <p:cNvSpPr/>
          <p:nvPr/>
        </p:nvSpPr>
        <p:spPr>
          <a:xfrm>
            <a:off x="4788644" y="6336866"/>
            <a:ext cx="6336704" cy="1116024"/>
          </a:xfrm>
          <a:custGeom>
            <a:avLst/>
            <a:gdLst/>
            <a:ahLst/>
            <a:cxnLst/>
            <a:rect l="l" t="t" r="r" b="b"/>
            <a:pathLst>
              <a:path w="5544820" h="913129">
                <a:moveTo>
                  <a:pt x="5392483" y="0"/>
                </a:moveTo>
                <a:lnTo>
                  <a:pt x="152095" y="0"/>
                </a:lnTo>
                <a:lnTo>
                  <a:pt x="104022" y="7751"/>
                </a:lnTo>
                <a:lnTo>
                  <a:pt x="62270" y="29333"/>
                </a:lnTo>
                <a:lnTo>
                  <a:pt x="29346" y="62243"/>
                </a:lnTo>
                <a:lnTo>
                  <a:pt x="7754" y="103973"/>
                </a:lnTo>
                <a:lnTo>
                  <a:pt x="0" y="152018"/>
                </a:lnTo>
                <a:lnTo>
                  <a:pt x="0" y="760450"/>
                </a:lnTo>
                <a:lnTo>
                  <a:pt x="7754" y="808523"/>
                </a:lnTo>
                <a:lnTo>
                  <a:pt x="29346" y="850275"/>
                </a:lnTo>
                <a:lnTo>
                  <a:pt x="62270" y="883199"/>
                </a:lnTo>
                <a:lnTo>
                  <a:pt x="104022" y="904791"/>
                </a:lnTo>
                <a:lnTo>
                  <a:pt x="152095" y="912545"/>
                </a:lnTo>
                <a:lnTo>
                  <a:pt x="5392483" y="912545"/>
                </a:lnTo>
                <a:lnTo>
                  <a:pt x="5440591" y="904791"/>
                </a:lnTo>
                <a:lnTo>
                  <a:pt x="5482358" y="883199"/>
                </a:lnTo>
                <a:lnTo>
                  <a:pt x="5515287" y="850275"/>
                </a:lnTo>
                <a:lnTo>
                  <a:pt x="5536877" y="808523"/>
                </a:lnTo>
                <a:lnTo>
                  <a:pt x="5544629" y="760450"/>
                </a:lnTo>
                <a:lnTo>
                  <a:pt x="5544629" y="152018"/>
                </a:lnTo>
                <a:lnTo>
                  <a:pt x="5536877" y="103973"/>
                </a:lnTo>
                <a:lnTo>
                  <a:pt x="5515287" y="62243"/>
                </a:lnTo>
                <a:lnTo>
                  <a:pt x="5482358" y="29333"/>
                </a:lnTo>
                <a:lnTo>
                  <a:pt x="5440591" y="7751"/>
                </a:lnTo>
                <a:lnTo>
                  <a:pt x="5392483" y="0"/>
                </a:lnTo>
                <a:close/>
              </a:path>
            </a:pathLst>
          </a:custGeom>
          <a:solidFill>
            <a:srgbClr val="EAEA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4">
            <a:extLst>
              <a:ext uri="{FF2B5EF4-FFF2-40B4-BE49-F238E27FC236}">
                <a16:creationId xmlns:a16="http://schemas.microsoft.com/office/drawing/2014/main" xmlns="" id="{F4833ACE-8A20-8A45-AB06-7957558CE842}"/>
              </a:ext>
            </a:extLst>
          </p:cNvPr>
          <p:cNvSpPr txBox="1">
            <a:spLocks/>
          </p:cNvSpPr>
          <p:nvPr/>
        </p:nvSpPr>
        <p:spPr>
          <a:xfrm>
            <a:off x="5082366" y="4018114"/>
            <a:ext cx="3632479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l">
              <a:spcBef>
                <a:spcPts val="100"/>
              </a:spcBef>
            </a:pPr>
            <a:r>
              <a:rPr lang="es-CL" sz="3200" b="1" dirty="0">
                <a:solidFill>
                  <a:srgbClr val="15C04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tualidades</a:t>
            </a:r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xmlns="" id="{F1D117AC-619F-0C4B-A532-ED021DEE9A36}"/>
              </a:ext>
            </a:extLst>
          </p:cNvPr>
          <p:cNvSpPr txBox="1">
            <a:spLocks/>
          </p:cNvSpPr>
          <p:nvPr/>
        </p:nvSpPr>
        <p:spPr>
          <a:xfrm>
            <a:off x="5082366" y="5324577"/>
            <a:ext cx="3632479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l">
              <a:spcBef>
                <a:spcPts val="100"/>
              </a:spcBef>
            </a:pPr>
            <a:r>
              <a:rPr lang="es-CL" sz="3200" b="1" dirty="0">
                <a:solidFill>
                  <a:srgbClr val="15C04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presas</a:t>
            </a:r>
          </a:p>
        </p:txBody>
      </p:sp>
      <p:sp>
        <p:nvSpPr>
          <p:cNvPr id="26" name="object 4">
            <a:extLst>
              <a:ext uri="{FF2B5EF4-FFF2-40B4-BE49-F238E27FC236}">
                <a16:creationId xmlns:a16="http://schemas.microsoft.com/office/drawing/2014/main" xmlns="" id="{E68F8678-4CD9-2246-8969-EC40D90668D2}"/>
              </a:ext>
            </a:extLst>
          </p:cNvPr>
          <p:cNvSpPr txBox="1">
            <a:spLocks/>
          </p:cNvSpPr>
          <p:nvPr/>
        </p:nvSpPr>
        <p:spPr>
          <a:xfrm>
            <a:off x="5088212" y="6635708"/>
            <a:ext cx="3632479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l">
              <a:spcBef>
                <a:spcPts val="100"/>
              </a:spcBef>
            </a:pPr>
            <a:r>
              <a:rPr lang="es-CL" sz="3200" b="1" dirty="0">
                <a:solidFill>
                  <a:srgbClr val="15C04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bajadores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4194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Programa de protección auditiva: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Se deben orientar los esfuerzos a verificar en terreno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:a16="http://schemas.microsoft.com/office/drawing/2014/main" xmlns="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3</a:t>
            </a:r>
          </a:p>
        </p:txBody>
      </p:sp>
      <p:pic>
        <p:nvPicPr>
          <p:cNvPr id="27" name="Imagen 5">
            <a:extLst>
              <a:ext uri="{FF2B5EF4-FFF2-40B4-BE49-F238E27FC236}">
                <a16:creationId xmlns:a16="http://schemas.microsoft.com/office/drawing/2014/main" xmlns="" id="{7F0CABA4-710D-6343-B567-4819B1C3086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00871" y="3794886"/>
            <a:ext cx="1005388" cy="94804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71594853-986E-7947-8159-374F1930B6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95211" y="1836266"/>
            <a:ext cx="6539612" cy="651280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FC7A80C-2DD8-A241-9B21-9A97440A0C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40015" y="5234310"/>
            <a:ext cx="927100" cy="6858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25C1FE16-E691-0F4E-9E3B-6B1DACEEBFD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22549" y="6494828"/>
            <a:ext cx="723900" cy="800100"/>
          </a:xfrm>
          <a:prstGeom prst="rect">
            <a:avLst/>
          </a:prstGeom>
        </p:spPr>
      </p:pic>
      <p:sp>
        <p:nvSpPr>
          <p:cNvPr id="29" name="object 9">
            <a:extLst>
              <a:ext uri="{FF2B5EF4-FFF2-40B4-BE49-F238E27FC236}">
                <a16:creationId xmlns:a16="http://schemas.microsoft.com/office/drawing/2014/main" xmlns="" id="{8CD6DFB2-0745-AE48-93A1-F7540991E2DA}"/>
              </a:ext>
            </a:extLst>
          </p:cNvPr>
          <p:cNvSpPr/>
          <p:nvPr/>
        </p:nvSpPr>
        <p:spPr>
          <a:xfrm>
            <a:off x="9600871" y="2511248"/>
            <a:ext cx="1000565" cy="94929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24300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131372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Estrategia ACHS en su implementación: </a:t>
            </a:r>
          </a:p>
          <a:p>
            <a:endParaRPr lang="es-CL" sz="2500" dirty="0">
              <a:solidFill>
                <a:srgbClr val="15C047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3" name="Rectangle 16">
            <a:extLst>
              <a:ext uri="{FF2B5EF4-FFF2-40B4-BE49-F238E27FC236}">
                <a16:creationId xmlns:a16="http://schemas.microsoft.com/office/drawing/2014/main" xmlns="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3</a:t>
            </a:r>
          </a:p>
        </p:txBody>
      </p:sp>
      <p:pic>
        <p:nvPicPr>
          <p:cNvPr id="28" name="Imagen 5">
            <a:extLst>
              <a:ext uri="{FF2B5EF4-FFF2-40B4-BE49-F238E27FC236}">
                <a16:creationId xmlns:a16="http://schemas.microsoft.com/office/drawing/2014/main" xmlns="" id="{1F81DA14-FAD2-304D-B199-0D1ED9F8271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29" name="Elipse 9">
            <a:extLst>
              <a:ext uri="{FF2B5EF4-FFF2-40B4-BE49-F238E27FC236}">
                <a16:creationId xmlns:a16="http://schemas.microsoft.com/office/drawing/2014/main" xmlns="" id="{0CA0FFFD-FD63-EF4B-83FA-995ED46987FA}"/>
              </a:ext>
            </a:extLst>
          </p:cNvPr>
          <p:cNvSpPr/>
          <p:nvPr/>
        </p:nvSpPr>
        <p:spPr>
          <a:xfrm>
            <a:off x="4140263" y="2346672"/>
            <a:ext cx="792397" cy="792397"/>
          </a:xfrm>
          <a:prstGeom prst="ellipse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dirty="0">
                <a:solidFill>
                  <a:srgbClr val="15C047"/>
                </a:solidFill>
                <a:latin typeface="ACHS Nueva Serif" pitchFamily="2" charset="77"/>
                <a:ea typeface="Helvetica Neue Medium"/>
                <a:cs typeface="Helvetica Neue Medium"/>
                <a:sym typeface="Helvetica Neue Medium"/>
              </a:rPr>
              <a:t>1</a:t>
            </a:r>
            <a:endParaRPr lang="es-CL" sz="4800" dirty="0">
              <a:solidFill>
                <a:srgbClr val="15C047"/>
              </a:solidFill>
              <a:latin typeface="ACHS Nueva Serif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1" name="object 43">
            <a:extLst>
              <a:ext uri="{FF2B5EF4-FFF2-40B4-BE49-F238E27FC236}">
                <a16:creationId xmlns:a16="http://schemas.microsoft.com/office/drawing/2014/main" xmlns="" id="{A1756244-1670-4443-8F7E-D2A7C79FF8AF}"/>
              </a:ext>
            </a:extLst>
          </p:cNvPr>
          <p:cNvSpPr txBox="1">
            <a:spLocks/>
          </p:cNvSpPr>
          <p:nvPr/>
        </p:nvSpPr>
        <p:spPr>
          <a:xfrm>
            <a:off x="5028249" y="1824561"/>
            <a:ext cx="7609267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79388">
              <a:spcBef>
                <a:spcPts val="0"/>
              </a:spcBef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 Identificación y caracterización del peligro de higiene.</a:t>
            </a:r>
            <a:endParaRPr lang="es-CL"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33" name="object 53">
            <a:extLst>
              <a:ext uri="{FF2B5EF4-FFF2-40B4-BE49-F238E27FC236}">
                <a16:creationId xmlns:a16="http://schemas.microsoft.com/office/drawing/2014/main" xmlns="" id="{7A79AD10-167B-B948-B06E-EF0417A232F5}"/>
              </a:ext>
            </a:extLst>
          </p:cNvPr>
          <p:cNvSpPr txBox="1"/>
          <p:nvPr/>
        </p:nvSpPr>
        <p:spPr>
          <a:xfrm>
            <a:off x="13604175" y="3276426"/>
            <a:ext cx="1839872" cy="750847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2400" b="1" dirty="0">
                <a:latin typeface="Calibri" panose="020F0502020204030204" pitchFamily="34" charset="0"/>
                <a:cs typeface="Calibri" panose="020F0502020204030204" pitchFamily="34" charset="0"/>
              </a:rPr>
              <a:t>Vigilancia</a:t>
            </a:r>
            <a:endParaRPr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940" algn="ctr">
              <a:lnSpc>
                <a:spcPct val="100000"/>
              </a:lnSpc>
            </a:pPr>
            <a:r>
              <a:rPr sz="2400" b="1" dirty="0">
                <a:latin typeface="Calibri" panose="020F0502020204030204" pitchFamily="34" charset="0"/>
                <a:cs typeface="Calibri" panose="020F0502020204030204" pitchFamily="34" charset="0"/>
              </a:rPr>
              <a:t>Integrada</a:t>
            </a:r>
            <a:endParaRPr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object 54">
            <a:extLst>
              <a:ext uri="{FF2B5EF4-FFF2-40B4-BE49-F238E27FC236}">
                <a16:creationId xmlns:a16="http://schemas.microsoft.com/office/drawing/2014/main" xmlns="" id="{7AB2098B-5F2A-0043-AF69-24EAA2F91662}"/>
              </a:ext>
            </a:extLst>
          </p:cNvPr>
          <p:cNvSpPr txBox="1"/>
          <p:nvPr/>
        </p:nvSpPr>
        <p:spPr>
          <a:xfrm>
            <a:off x="13605956" y="5981311"/>
            <a:ext cx="1839872" cy="750847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/>
          <a:p>
            <a:pPr marL="12700" marR="5080" indent="-12700" algn="ctr">
              <a:lnSpc>
                <a:spcPct val="100000"/>
              </a:lnSpc>
            </a:pPr>
            <a:r>
              <a:rPr sz="2400" b="1" dirty="0">
                <a:latin typeface="Calibri" panose="020F0502020204030204" pitchFamily="34" charset="0"/>
                <a:cs typeface="Calibri" panose="020F0502020204030204" pitchFamily="34" charset="0"/>
              </a:rPr>
              <a:t>Sistema  Preventivo</a:t>
            </a:r>
            <a:endParaRPr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Cheurón 3">
            <a:extLst>
              <a:ext uri="{FF2B5EF4-FFF2-40B4-BE49-F238E27FC236}">
                <a16:creationId xmlns:a16="http://schemas.microsoft.com/office/drawing/2014/main" xmlns="" id="{6D2BA609-3404-A940-9A6E-B177B8EAED1E}"/>
              </a:ext>
            </a:extLst>
          </p:cNvPr>
          <p:cNvSpPr/>
          <p:nvPr/>
        </p:nvSpPr>
        <p:spPr>
          <a:xfrm>
            <a:off x="7271440" y="2243682"/>
            <a:ext cx="3198749" cy="900000"/>
          </a:xfrm>
          <a:prstGeom prst="chevron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Diagnóstico situación  empresa respecto a  exigencias del protocolo.</a:t>
            </a:r>
          </a:p>
        </p:txBody>
      </p:sp>
      <p:sp>
        <p:nvSpPr>
          <p:cNvPr id="37" name="Cheurón 84">
            <a:extLst>
              <a:ext uri="{FF2B5EF4-FFF2-40B4-BE49-F238E27FC236}">
                <a16:creationId xmlns:a16="http://schemas.microsoft.com/office/drawing/2014/main" xmlns="" id="{C29EB99D-5718-FF45-9B38-CE9A1DFD2F40}"/>
              </a:ext>
            </a:extLst>
          </p:cNvPr>
          <p:cNvSpPr/>
          <p:nvPr/>
        </p:nvSpPr>
        <p:spPr>
          <a:xfrm>
            <a:off x="10171039" y="2247315"/>
            <a:ext cx="2412000" cy="900000"/>
          </a:xfrm>
          <a:prstGeom prst="chevron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Caracterización del riesgo.</a:t>
            </a:r>
          </a:p>
        </p:txBody>
      </p:sp>
      <p:sp>
        <p:nvSpPr>
          <p:cNvPr id="38" name="Pentágono 4">
            <a:extLst>
              <a:ext uri="{FF2B5EF4-FFF2-40B4-BE49-F238E27FC236}">
                <a16:creationId xmlns:a16="http://schemas.microsoft.com/office/drawing/2014/main" xmlns="" id="{4FE1D3B3-59DE-E34C-A24C-8C9A091CBE66}"/>
              </a:ext>
            </a:extLst>
          </p:cNvPr>
          <p:cNvSpPr/>
          <p:nvPr/>
        </p:nvSpPr>
        <p:spPr>
          <a:xfrm>
            <a:off x="5123596" y="2243682"/>
            <a:ext cx="2412000" cy="900000"/>
          </a:xfrm>
          <a:prstGeom prst="homePlate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Identificar el peligro de higiene.</a:t>
            </a:r>
          </a:p>
        </p:txBody>
      </p:sp>
      <p:sp>
        <p:nvSpPr>
          <p:cNvPr id="40" name="object 43">
            <a:extLst>
              <a:ext uri="{FF2B5EF4-FFF2-40B4-BE49-F238E27FC236}">
                <a16:creationId xmlns:a16="http://schemas.microsoft.com/office/drawing/2014/main" xmlns="" id="{0F895DBF-5609-9A4A-8657-34D7C04698C6}"/>
              </a:ext>
            </a:extLst>
          </p:cNvPr>
          <p:cNvSpPr txBox="1">
            <a:spLocks/>
          </p:cNvSpPr>
          <p:nvPr/>
        </p:nvSpPr>
        <p:spPr>
          <a:xfrm>
            <a:off x="4974351" y="3476559"/>
            <a:ext cx="5682088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79388">
              <a:spcBef>
                <a:spcPts val="0"/>
              </a:spcBef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  Evaluación del problema.</a:t>
            </a:r>
            <a:endParaRPr lang="es-CL"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42" name="Cheurón 87">
            <a:extLst>
              <a:ext uri="{FF2B5EF4-FFF2-40B4-BE49-F238E27FC236}">
                <a16:creationId xmlns:a16="http://schemas.microsoft.com/office/drawing/2014/main" xmlns="" id="{8DD6C0E4-004B-2C49-A155-D39D4B17645D}"/>
              </a:ext>
            </a:extLst>
          </p:cNvPr>
          <p:cNvSpPr/>
          <p:nvPr/>
        </p:nvSpPr>
        <p:spPr>
          <a:xfrm>
            <a:off x="7233995" y="3930234"/>
            <a:ext cx="3198749" cy="900000"/>
          </a:xfrm>
          <a:prstGeom prst="chevron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Evaluación cuantitativa.</a:t>
            </a:r>
          </a:p>
        </p:txBody>
      </p:sp>
      <p:sp>
        <p:nvSpPr>
          <p:cNvPr id="44" name="Pentágono 89">
            <a:extLst>
              <a:ext uri="{FF2B5EF4-FFF2-40B4-BE49-F238E27FC236}">
                <a16:creationId xmlns:a16="http://schemas.microsoft.com/office/drawing/2014/main" xmlns="" id="{4599F31B-295C-134E-8B32-20C5848D2002}"/>
              </a:ext>
            </a:extLst>
          </p:cNvPr>
          <p:cNvSpPr/>
          <p:nvPr/>
        </p:nvSpPr>
        <p:spPr>
          <a:xfrm>
            <a:off x="5086151" y="3930234"/>
            <a:ext cx="2412000" cy="900000"/>
          </a:xfrm>
          <a:prstGeom prst="homePlate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dirty="0" err="1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Screening</a:t>
            </a:r>
            <a:endParaRPr lang="es-CL" sz="1400" dirty="0">
              <a:solidFill>
                <a:schemeClr val="bg1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sp>
        <p:nvSpPr>
          <p:cNvPr id="46" name="object 43">
            <a:extLst>
              <a:ext uri="{FF2B5EF4-FFF2-40B4-BE49-F238E27FC236}">
                <a16:creationId xmlns:a16="http://schemas.microsoft.com/office/drawing/2014/main" xmlns="" id="{3CC87413-6AE1-624E-9480-201CB3168E09}"/>
              </a:ext>
            </a:extLst>
          </p:cNvPr>
          <p:cNvSpPr txBox="1">
            <a:spLocks/>
          </p:cNvSpPr>
          <p:nvPr/>
        </p:nvSpPr>
        <p:spPr>
          <a:xfrm>
            <a:off x="4974576" y="5204751"/>
            <a:ext cx="5682088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79388">
              <a:spcBef>
                <a:spcPts val="0"/>
              </a:spcBef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  Generar medidas de control preventivas.</a:t>
            </a:r>
            <a:endParaRPr lang="es-CL"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47" name="Cheurón 92">
            <a:extLst>
              <a:ext uri="{FF2B5EF4-FFF2-40B4-BE49-F238E27FC236}">
                <a16:creationId xmlns:a16="http://schemas.microsoft.com/office/drawing/2014/main" xmlns="" id="{0C61B74B-B8F6-504B-8188-C6389FEB92A9}"/>
              </a:ext>
            </a:extLst>
          </p:cNvPr>
          <p:cNvSpPr/>
          <p:nvPr/>
        </p:nvSpPr>
        <p:spPr>
          <a:xfrm>
            <a:off x="7234220" y="5658426"/>
            <a:ext cx="3198749" cy="900000"/>
          </a:xfrm>
          <a:prstGeom prst="chevron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Ingreso de trabajadores expuestos a vigilancia de la salud.</a:t>
            </a:r>
          </a:p>
        </p:txBody>
      </p:sp>
      <p:sp>
        <p:nvSpPr>
          <p:cNvPr id="48" name="Pentágono 93">
            <a:extLst>
              <a:ext uri="{FF2B5EF4-FFF2-40B4-BE49-F238E27FC236}">
                <a16:creationId xmlns:a16="http://schemas.microsoft.com/office/drawing/2014/main" xmlns="" id="{B6C8361F-CA7B-9246-91B6-37C8E6AB661A}"/>
              </a:ext>
            </a:extLst>
          </p:cNvPr>
          <p:cNvSpPr/>
          <p:nvPr/>
        </p:nvSpPr>
        <p:spPr>
          <a:xfrm>
            <a:off x="5086376" y="5658426"/>
            <a:ext cx="2412000" cy="900000"/>
          </a:xfrm>
          <a:prstGeom prst="homePlate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Generar recomendaciones.</a:t>
            </a:r>
          </a:p>
        </p:txBody>
      </p:sp>
      <p:sp>
        <p:nvSpPr>
          <p:cNvPr id="50" name="object 43">
            <a:extLst>
              <a:ext uri="{FF2B5EF4-FFF2-40B4-BE49-F238E27FC236}">
                <a16:creationId xmlns:a16="http://schemas.microsoft.com/office/drawing/2014/main" xmlns="" id="{B64D45A8-E93A-CE42-A4C4-481F8E010EE4}"/>
              </a:ext>
            </a:extLst>
          </p:cNvPr>
          <p:cNvSpPr txBox="1">
            <a:spLocks/>
          </p:cNvSpPr>
          <p:nvPr/>
        </p:nvSpPr>
        <p:spPr>
          <a:xfrm>
            <a:off x="4967908" y="6959678"/>
            <a:ext cx="5682088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79388">
              <a:spcBef>
                <a:spcPts val="0"/>
              </a:spcBef>
            </a:pPr>
            <a:r>
              <a:rPr lang="es-CL" sz="20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   Gestionar la exposición al riesgo.</a:t>
            </a:r>
            <a:endParaRPr lang="es-CL" sz="2000" b="1" dirty="0">
              <a:latin typeface="ACHS Nueva Sans SemiBold" pitchFamily="2" charset="77"/>
              <a:cs typeface="Calibri" panose="020F0502020204030204" pitchFamily="34" charset="0"/>
            </a:endParaRPr>
          </a:p>
        </p:txBody>
      </p:sp>
      <p:sp>
        <p:nvSpPr>
          <p:cNvPr id="51" name="Cheurón 96">
            <a:extLst>
              <a:ext uri="{FF2B5EF4-FFF2-40B4-BE49-F238E27FC236}">
                <a16:creationId xmlns:a16="http://schemas.microsoft.com/office/drawing/2014/main" xmlns="" id="{8F55D062-F70E-E84F-A4B3-09B76686E66A}"/>
              </a:ext>
            </a:extLst>
          </p:cNvPr>
          <p:cNvSpPr/>
          <p:nvPr/>
        </p:nvSpPr>
        <p:spPr>
          <a:xfrm>
            <a:off x="7466673" y="7413353"/>
            <a:ext cx="3204000" cy="900000"/>
          </a:xfrm>
          <a:prstGeom prst="chevron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Ejecución recomendaciones y Plan de Acción para el protocolo.</a:t>
            </a:r>
          </a:p>
        </p:txBody>
      </p:sp>
      <p:sp>
        <p:nvSpPr>
          <p:cNvPr id="52" name="Cheurón 97">
            <a:extLst>
              <a:ext uri="{FF2B5EF4-FFF2-40B4-BE49-F238E27FC236}">
                <a16:creationId xmlns:a16="http://schemas.microsoft.com/office/drawing/2014/main" xmlns="" id="{E8C88C5D-9241-7140-832C-805EA1E806A0}"/>
              </a:ext>
            </a:extLst>
          </p:cNvPr>
          <p:cNvSpPr/>
          <p:nvPr/>
        </p:nvSpPr>
        <p:spPr>
          <a:xfrm>
            <a:off x="10333540" y="7416986"/>
            <a:ext cx="2520000" cy="900000"/>
          </a:xfrm>
          <a:prstGeom prst="chevron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Verificar y controlar recomendaciones</a:t>
            </a:r>
          </a:p>
        </p:txBody>
      </p:sp>
      <p:sp>
        <p:nvSpPr>
          <p:cNvPr id="53" name="Pentágono 98">
            <a:extLst>
              <a:ext uri="{FF2B5EF4-FFF2-40B4-BE49-F238E27FC236}">
                <a16:creationId xmlns:a16="http://schemas.microsoft.com/office/drawing/2014/main" xmlns="" id="{6CEAEE22-AEDD-9F49-9F16-D5E47193D1A7}"/>
              </a:ext>
            </a:extLst>
          </p:cNvPr>
          <p:cNvSpPr/>
          <p:nvPr/>
        </p:nvSpPr>
        <p:spPr>
          <a:xfrm>
            <a:off x="5086151" y="7413353"/>
            <a:ext cx="2736000" cy="900000"/>
          </a:xfrm>
          <a:prstGeom prst="homePlate">
            <a:avLst/>
          </a:prstGeom>
          <a:solidFill>
            <a:srgbClr val="15C047"/>
          </a:solidFill>
          <a:ln>
            <a:solidFill>
              <a:srgbClr val="15C047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Incorporar recomendaciones en Plan de Acción, intervención en empresas 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xmlns="" id="{A37D9F9A-674E-DA43-BD53-91F95A0D2D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800000">
            <a:off x="12880663" y="1719972"/>
            <a:ext cx="620949" cy="6525004"/>
          </a:xfrm>
          <a:prstGeom prst="rect">
            <a:avLst/>
          </a:prstGeom>
        </p:spPr>
      </p:pic>
      <p:sp>
        <p:nvSpPr>
          <p:cNvPr id="57" name="Elipse 9">
            <a:extLst>
              <a:ext uri="{FF2B5EF4-FFF2-40B4-BE49-F238E27FC236}">
                <a16:creationId xmlns:a16="http://schemas.microsoft.com/office/drawing/2014/main" xmlns="" id="{F453BDE2-513E-3A48-A048-A7BE2C2CBC15}"/>
              </a:ext>
            </a:extLst>
          </p:cNvPr>
          <p:cNvSpPr/>
          <p:nvPr/>
        </p:nvSpPr>
        <p:spPr>
          <a:xfrm>
            <a:off x="4117614" y="4011328"/>
            <a:ext cx="792397" cy="792397"/>
          </a:xfrm>
          <a:prstGeom prst="ellipse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dirty="0">
                <a:solidFill>
                  <a:srgbClr val="15C047"/>
                </a:solidFill>
                <a:latin typeface="ACHS Nueva Serif" pitchFamily="2" charset="77"/>
                <a:ea typeface="Helvetica Neue Medium"/>
                <a:cs typeface="Helvetica Neue Medium"/>
                <a:sym typeface="Helvetica Neue Medium"/>
              </a:rPr>
              <a:t>2</a:t>
            </a:r>
            <a:endParaRPr lang="es-CL" sz="4800" dirty="0">
              <a:solidFill>
                <a:srgbClr val="15C047"/>
              </a:solidFill>
              <a:latin typeface="ACHS Nueva Serif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8" name="Elipse 9">
            <a:extLst>
              <a:ext uri="{FF2B5EF4-FFF2-40B4-BE49-F238E27FC236}">
                <a16:creationId xmlns:a16="http://schemas.microsoft.com/office/drawing/2014/main" xmlns="" id="{FCBC7926-1CDD-D244-95B2-DDE985C7A0A0}"/>
              </a:ext>
            </a:extLst>
          </p:cNvPr>
          <p:cNvSpPr/>
          <p:nvPr/>
        </p:nvSpPr>
        <p:spPr>
          <a:xfrm>
            <a:off x="4113353" y="5712227"/>
            <a:ext cx="792397" cy="792397"/>
          </a:xfrm>
          <a:prstGeom prst="ellipse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dirty="0">
                <a:solidFill>
                  <a:srgbClr val="15C047"/>
                </a:solidFill>
                <a:latin typeface="ACHS Nueva Serif" pitchFamily="2" charset="77"/>
                <a:ea typeface="Helvetica Neue Medium"/>
                <a:cs typeface="Helvetica Neue Medium"/>
                <a:sym typeface="Helvetica Neue Medium"/>
              </a:rPr>
              <a:t>3</a:t>
            </a:r>
            <a:endParaRPr lang="es-CL" sz="4800" dirty="0">
              <a:solidFill>
                <a:srgbClr val="15C047"/>
              </a:solidFill>
              <a:latin typeface="ACHS Nueva Serif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9" name="Elipse 9">
            <a:extLst>
              <a:ext uri="{FF2B5EF4-FFF2-40B4-BE49-F238E27FC236}">
                <a16:creationId xmlns:a16="http://schemas.microsoft.com/office/drawing/2014/main" xmlns="" id="{D8F1018C-48FB-384F-86BB-E5681825F463}"/>
              </a:ext>
            </a:extLst>
          </p:cNvPr>
          <p:cNvSpPr/>
          <p:nvPr/>
        </p:nvSpPr>
        <p:spPr>
          <a:xfrm>
            <a:off x="4119907" y="7467154"/>
            <a:ext cx="792397" cy="792397"/>
          </a:xfrm>
          <a:prstGeom prst="ellipse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dirty="0">
                <a:solidFill>
                  <a:srgbClr val="15C047"/>
                </a:solidFill>
                <a:latin typeface="ACHS Nueva Serif" pitchFamily="2" charset="77"/>
                <a:ea typeface="Helvetica Neue Medium"/>
                <a:cs typeface="Helvetica Neue Medium"/>
                <a:sym typeface="Helvetica Neue Medium"/>
              </a:rPr>
              <a:t>4</a:t>
            </a:r>
            <a:endParaRPr lang="es-CL" sz="4800" dirty="0">
              <a:solidFill>
                <a:srgbClr val="15C047"/>
              </a:solidFill>
              <a:latin typeface="ACHS Nueva Serif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0" name="Imagen 5">
            <a:extLst>
              <a:ext uri="{FF2B5EF4-FFF2-40B4-BE49-F238E27FC236}">
                <a16:creationId xmlns:a16="http://schemas.microsoft.com/office/drawing/2014/main" xmlns="" id="{87693034-FA20-2746-BFB0-531BBFF017E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744758" y="4199095"/>
            <a:ext cx="1547608" cy="14593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300563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486CA2A-0175-D140-9F8B-177814A6F960}"/>
              </a:ext>
            </a:extLst>
          </p:cNvPr>
          <p:cNvSpPr/>
          <p:nvPr/>
        </p:nvSpPr>
        <p:spPr>
          <a:xfrm>
            <a:off x="721168" y="708157"/>
            <a:ext cx="3419404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Conclusiones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3" name="Rectangle 16">
            <a:extLst>
              <a:ext uri="{FF2B5EF4-FFF2-40B4-BE49-F238E27FC236}">
                <a16:creationId xmlns:a16="http://schemas.microsoft.com/office/drawing/2014/main" xmlns="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4</a:t>
            </a:r>
          </a:p>
        </p:txBody>
      </p:sp>
      <p:sp>
        <p:nvSpPr>
          <p:cNvPr id="8" name="CuadroTexto 1">
            <a:extLst>
              <a:ext uri="{FF2B5EF4-FFF2-40B4-BE49-F238E27FC236}">
                <a16:creationId xmlns:a16="http://schemas.microsoft.com/office/drawing/2014/main" xmlns="" id="{56622E19-B211-CE41-83CD-60BEB6E380B5}"/>
              </a:ext>
            </a:extLst>
          </p:cNvPr>
          <p:cNvSpPr txBox="1"/>
          <p:nvPr/>
        </p:nvSpPr>
        <p:spPr>
          <a:xfrm>
            <a:off x="5004668" y="2067098"/>
            <a:ext cx="789285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Recuerde siempre, revisar y aplicar las medidas revisadas durante la presente capacitación.</a:t>
            </a:r>
          </a:p>
          <a:p>
            <a:pPr algn="just"/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demás, de entender la importancia de la implementación del protocolo PREXOR para su seguridad y con ello, se estará cumpliendo a lo que exige la autoridad.</a:t>
            </a:r>
          </a:p>
          <a:p>
            <a:pPr algn="just"/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pic>
        <p:nvPicPr>
          <p:cNvPr id="9" name="Imagen 5">
            <a:extLst>
              <a:ext uri="{FF2B5EF4-FFF2-40B4-BE49-F238E27FC236}">
                <a16:creationId xmlns:a16="http://schemas.microsoft.com/office/drawing/2014/main" xmlns="" id="{8018F269-E547-6D4B-BE13-2ADD8C3546F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00124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924FC70C-A834-904F-ADC2-96780203757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493500" y="5220643"/>
            <a:ext cx="2787921" cy="2612327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6D889DAD-BF80-844F-86E5-584DCF099494}"/>
              </a:ext>
            </a:extLst>
          </p:cNvPr>
          <p:cNvSpPr/>
          <p:nvPr/>
        </p:nvSpPr>
        <p:spPr>
          <a:xfrm>
            <a:off x="741397" y="2100697"/>
            <a:ext cx="1800559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CL" sz="2100" b="1" dirty="0">
                <a:solidFill>
                  <a:srgbClr val="15C047"/>
                </a:solidFill>
                <a:latin typeface="ACHS Nueva Serif" pitchFamily="2" charset="77"/>
                <a:cs typeface="Calibri" panose="020F0502020204030204" pitchFamily="34" charset="0"/>
              </a:rPr>
              <a:t>Objetivo: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FA7C559C-1DA8-B74B-B1FE-E42E33AB8101}"/>
              </a:ext>
            </a:extLst>
          </p:cNvPr>
          <p:cNvSpPr/>
          <p:nvPr/>
        </p:nvSpPr>
        <p:spPr>
          <a:xfrm>
            <a:off x="741398" y="2711559"/>
            <a:ext cx="32526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dirty="0">
                <a:solidFill>
                  <a:srgbClr val="84B727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xmlns="" id="{B28DE497-16CB-EF4E-B644-071FCA00FB72}"/>
              </a:ext>
            </a:extLst>
          </p:cNvPr>
          <p:cNvSpPr/>
          <p:nvPr/>
        </p:nvSpPr>
        <p:spPr>
          <a:xfrm>
            <a:off x="4642787" y="2215255"/>
            <a:ext cx="96894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Difundir el protocolo PREXOR, conforme a lo que exige la autoridad.</a:t>
            </a:r>
          </a:p>
        </p:txBody>
      </p:sp>
      <p:sp>
        <p:nvSpPr>
          <p:cNvPr id="30" name="Rectangle 2">
            <a:extLst>
              <a:ext uri="{FF2B5EF4-FFF2-40B4-BE49-F238E27FC236}">
                <a16:creationId xmlns:a16="http://schemas.microsoft.com/office/drawing/2014/main" xmlns="" id="{F1268F0F-D87C-5641-A7EA-0DC5300C1EBD}"/>
              </a:ext>
            </a:extLst>
          </p:cNvPr>
          <p:cNvSpPr/>
          <p:nvPr/>
        </p:nvSpPr>
        <p:spPr>
          <a:xfrm>
            <a:off x="741397" y="3086588"/>
            <a:ext cx="3252623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CL" sz="2100" b="1" dirty="0">
                <a:solidFill>
                  <a:srgbClr val="15C047"/>
                </a:solidFill>
                <a:latin typeface="ACHS Nueva Serif" pitchFamily="2" charset="77"/>
                <a:cs typeface="Calibri" panose="020F0502020204030204" pitchFamily="34" charset="0"/>
              </a:rPr>
              <a:t>Público Objetivo:</a:t>
            </a:r>
          </a:p>
        </p:txBody>
      </p:sp>
      <p:sp>
        <p:nvSpPr>
          <p:cNvPr id="32" name="Rectangle 3">
            <a:extLst>
              <a:ext uri="{FF2B5EF4-FFF2-40B4-BE49-F238E27FC236}">
                <a16:creationId xmlns:a16="http://schemas.microsoft.com/office/drawing/2014/main" xmlns="" id="{EF9EC006-7532-6D4D-A848-A4198109E27F}"/>
              </a:ext>
            </a:extLst>
          </p:cNvPr>
          <p:cNvSpPr/>
          <p:nvPr/>
        </p:nvSpPr>
        <p:spPr>
          <a:xfrm>
            <a:off x="4642787" y="3025974"/>
            <a:ext cx="71287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Ser trabajador de empresa afiliada a la ACHS y que por sus labores se encuentren expuestos a ruidos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D0F0AB97-6E7D-8D41-BE9C-C0D7DC06275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5028" y="5220642"/>
            <a:ext cx="2787920" cy="26123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F96B8151-4FFA-A244-B38D-E31D1492B67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6589" y="5310194"/>
            <a:ext cx="2417026" cy="2433225"/>
          </a:xfrm>
          <a:prstGeom prst="rect">
            <a:avLst/>
          </a:prstGeom>
        </p:spPr>
      </p:pic>
      <p:sp>
        <p:nvSpPr>
          <p:cNvPr id="46" name="Título 30">
            <a:extLst>
              <a:ext uri="{FF2B5EF4-FFF2-40B4-BE49-F238E27FC236}">
                <a16:creationId xmlns:a16="http://schemas.microsoft.com/office/drawing/2014/main" xmlns="" id="{815EEFD0-C5D1-7548-96D8-24B121823D4C}"/>
              </a:ext>
            </a:extLst>
          </p:cNvPr>
          <p:cNvSpPr txBox="1">
            <a:spLocks/>
          </p:cNvSpPr>
          <p:nvPr/>
        </p:nvSpPr>
        <p:spPr>
          <a:xfrm>
            <a:off x="-1332036" y="655277"/>
            <a:ext cx="6182408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Introducción</a:t>
            </a:r>
          </a:p>
        </p:txBody>
      </p:sp>
      <p:sp>
        <p:nvSpPr>
          <p:cNvPr id="22" name="Triangle 21">
            <a:extLst>
              <a:ext uri="{FF2B5EF4-FFF2-40B4-BE49-F238E27FC236}">
                <a16:creationId xmlns:a16="http://schemas.microsoft.com/office/drawing/2014/main" xmlns="" id="{C304169E-51F4-5D4C-A9C5-3D26FDC4FA51}"/>
              </a:ext>
            </a:extLst>
          </p:cNvPr>
          <p:cNvSpPr/>
          <p:nvPr/>
        </p:nvSpPr>
        <p:spPr>
          <a:xfrm rot="5400000">
            <a:off x="7003504" y="6448213"/>
            <a:ext cx="1008113" cy="524124"/>
          </a:xfrm>
          <a:prstGeom prst="triangle">
            <a:avLst/>
          </a:prstGeom>
          <a:solidFill>
            <a:srgbClr val="0C662F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  <p:sp>
        <p:nvSpPr>
          <p:cNvPr id="23" name="Triangle 22">
            <a:extLst>
              <a:ext uri="{FF2B5EF4-FFF2-40B4-BE49-F238E27FC236}">
                <a16:creationId xmlns:a16="http://schemas.microsoft.com/office/drawing/2014/main" xmlns="" id="{B79EBA7E-6103-9449-97A6-90A0BB07C62A}"/>
              </a:ext>
            </a:extLst>
          </p:cNvPr>
          <p:cNvSpPr/>
          <p:nvPr/>
        </p:nvSpPr>
        <p:spPr>
          <a:xfrm rot="5400000">
            <a:off x="11326526" y="6475483"/>
            <a:ext cx="1008113" cy="524124"/>
          </a:xfrm>
          <a:prstGeom prst="triangle">
            <a:avLst/>
          </a:prstGeom>
          <a:solidFill>
            <a:srgbClr val="0C662F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rgbClr val="EAEADE"/>
                </a:solidFill>
              </a:ln>
              <a:solidFill>
                <a:srgbClr val="15C047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58262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88550A4-1DE6-C94A-BC55-147348535139}"/>
              </a:ext>
            </a:extLst>
          </p:cNvPr>
          <p:cNvSpPr/>
          <p:nvPr/>
        </p:nvSpPr>
        <p:spPr>
          <a:xfrm>
            <a:off x="100012" y="-1"/>
            <a:ext cx="16002000" cy="9001125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0150"/>
            <a:endParaRPr lang="es-CL" sz="2363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1CA11D24-AD6C-AC46-8A54-D2DA454D3336}"/>
              </a:ext>
            </a:extLst>
          </p:cNvPr>
          <p:cNvGrpSpPr>
            <a:grpSpLocks/>
          </p:cNvGrpSpPr>
          <p:nvPr/>
        </p:nvGrpSpPr>
        <p:grpSpPr bwMode="auto">
          <a:xfrm>
            <a:off x="1881139" y="2063085"/>
            <a:ext cx="2891700" cy="4876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4458015A-2076-3643-9D4E-CDA7988B4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12C7EBAE-BCCF-514F-AF4B-FAA87B749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5BADBBA6-0D13-1944-BE7F-85F9675DA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E452025A-63DE-FF41-A369-D0B05A53B121}"/>
              </a:ext>
            </a:extLst>
          </p:cNvPr>
          <p:cNvSpPr>
            <a:spLocks noEditPoints="1"/>
          </p:cNvSpPr>
          <p:nvPr/>
        </p:nvSpPr>
        <p:spPr bwMode="auto">
          <a:xfrm>
            <a:off x="7440513" y="2154600"/>
            <a:ext cx="6936300" cy="4691925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0015" tIns="60008" rIns="120015" bIns="60008" numCol="1" anchor="t" anchorCtr="0" compatLnSpc="1">
            <a:prstTxWarp prst="textNoShape">
              <a:avLst/>
            </a:prstTxWarp>
          </a:bodyPr>
          <a:lstStyle/>
          <a:p>
            <a:pPr defTabSz="1200150"/>
            <a:endParaRPr lang="es-CL" sz="2363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4FA15053-6531-1C4F-9DAD-F1A98ACE9D4A}"/>
              </a:ext>
            </a:extLst>
          </p:cNvPr>
          <p:cNvSpPr/>
          <p:nvPr/>
        </p:nvSpPr>
        <p:spPr>
          <a:xfrm>
            <a:off x="690637" y="652049"/>
            <a:ext cx="7991290" cy="4962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00150"/>
            <a:r>
              <a:rPr lang="es-CL" sz="2625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27589CF8-2A0B-5940-9954-F26613DD4347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7E86D35B-FFA1-F54F-8774-D8E68AC54DB3}"/>
              </a:ext>
            </a:extLst>
          </p:cNvPr>
          <p:cNvSpPr/>
          <p:nvPr/>
        </p:nvSpPr>
        <p:spPr>
          <a:xfrm>
            <a:off x="1881139" y="7256075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3139FFF0-9526-FA40-82E4-BADBAB536699}"/>
              </a:ext>
            </a:extLst>
          </p:cNvPr>
          <p:cNvSpPr/>
          <p:nvPr/>
        </p:nvSpPr>
        <p:spPr>
          <a:xfrm>
            <a:off x="9302053" y="7256075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4C70E9DE-2F32-9642-AD47-9A6C0C48ED7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D78F5B53-66FE-D84A-B65B-7012FCD1C20A}"/>
              </a:ext>
            </a:extLst>
          </p:cNvPr>
          <p:cNvSpPr txBox="1">
            <a:spLocks/>
          </p:cNvSpPr>
          <p:nvPr/>
        </p:nvSpPr>
        <p:spPr>
          <a:xfrm>
            <a:off x="7630729" y="3812977"/>
            <a:ext cx="6256634" cy="6875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315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</a:t>
            </a:r>
            <a:r>
              <a:rPr lang="es-CL" sz="315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yurl.com/</a:t>
            </a:r>
            <a:r>
              <a:rPr lang="es-CL" sz="3150" u="sng" kern="0" dirty="0">
                <a:solidFill>
                  <a:srgbClr val="15C047"/>
                </a:solidFill>
              </a:rPr>
              <a:t>rxm3zy35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C50A787F-09EE-A148-BBF9-46923C6CB78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38019" y="3383756"/>
            <a:ext cx="2221307" cy="22336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52336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F8D277AE-C60C-8245-81E6-E15C1B7E1B35}"/>
              </a:ext>
            </a:extLst>
          </p:cNvPr>
          <p:cNvSpPr/>
          <p:nvPr/>
        </p:nvSpPr>
        <p:spPr>
          <a:xfrm>
            <a:off x="100012" y="-1"/>
            <a:ext cx="16002000" cy="9001125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0150"/>
            <a:endParaRPr lang="es-CL" sz="2363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73348561-921E-344F-A72B-19BDA9CAB6ED}"/>
              </a:ext>
            </a:extLst>
          </p:cNvPr>
          <p:cNvGrpSpPr>
            <a:grpSpLocks/>
          </p:cNvGrpSpPr>
          <p:nvPr/>
        </p:nvGrpSpPr>
        <p:grpSpPr bwMode="auto">
          <a:xfrm>
            <a:off x="1881139" y="2063085"/>
            <a:ext cx="2891700" cy="4876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432A776A-BF7B-BB46-8762-2FA3E11F4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59C2DBAC-EE7F-2E4E-A7FA-7DEB62758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C2A70D82-86AA-7C41-AAC2-4F88BF79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B6387BF9-0F61-2D4E-A120-4F288EDAE62C}"/>
              </a:ext>
            </a:extLst>
          </p:cNvPr>
          <p:cNvSpPr>
            <a:spLocks noEditPoints="1"/>
          </p:cNvSpPr>
          <p:nvPr/>
        </p:nvSpPr>
        <p:spPr bwMode="auto">
          <a:xfrm>
            <a:off x="7440513" y="2154600"/>
            <a:ext cx="6936300" cy="4691925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0015" tIns="60008" rIns="120015" bIns="60008" numCol="1" anchor="t" anchorCtr="0" compatLnSpc="1">
            <a:prstTxWarp prst="textNoShape">
              <a:avLst/>
            </a:prstTxWarp>
          </a:bodyPr>
          <a:lstStyle/>
          <a:p>
            <a:pPr defTabSz="1200150"/>
            <a:endParaRPr lang="es-CL" sz="2363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670FEB82-F7CF-D043-985C-783DDD13C7D4}"/>
              </a:ext>
            </a:extLst>
          </p:cNvPr>
          <p:cNvSpPr/>
          <p:nvPr/>
        </p:nvSpPr>
        <p:spPr>
          <a:xfrm>
            <a:off x="690637" y="652049"/>
            <a:ext cx="7991290" cy="4962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00150"/>
            <a:r>
              <a:rPr lang="es-CL" sz="2625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ADE4072A-0E18-2D42-95AC-B147F88E4A6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0AC4C99A-FBC1-E34E-98B4-212F0F61514A}"/>
              </a:ext>
            </a:extLst>
          </p:cNvPr>
          <p:cNvSpPr/>
          <p:nvPr/>
        </p:nvSpPr>
        <p:spPr>
          <a:xfrm>
            <a:off x="1881139" y="7256075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D799C167-C865-6B44-A263-891460E2A8DD}"/>
              </a:ext>
            </a:extLst>
          </p:cNvPr>
          <p:cNvSpPr/>
          <p:nvPr/>
        </p:nvSpPr>
        <p:spPr>
          <a:xfrm>
            <a:off x="9302053" y="7256075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16E3E300-634B-C448-95F3-6291B64DE4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D017B122-CEB0-8A4F-B99D-3761E6F821F0}"/>
              </a:ext>
            </a:extLst>
          </p:cNvPr>
          <p:cNvSpPr txBox="1">
            <a:spLocks/>
          </p:cNvSpPr>
          <p:nvPr/>
        </p:nvSpPr>
        <p:spPr>
          <a:xfrm>
            <a:off x="7780346" y="3988018"/>
            <a:ext cx="6256634" cy="6875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315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</a:t>
            </a:r>
            <a:r>
              <a:rPr lang="es-CL" sz="315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yurl.com/</a:t>
            </a:r>
            <a:r>
              <a:rPr lang="es-CL" sz="3150" u="sng" kern="0" dirty="0">
                <a:solidFill>
                  <a:srgbClr val="15C047"/>
                </a:solidFill>
              </a:rPr>
              <a:t>wtus2r43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302EF3BD-7D21-134F-A18F-2593E24BF94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02320" y="3381498"/>
            <a:ext cx="2238128" cy="223812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4044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0"/>
            <a:ext cx="16202025" cy="9001125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8" name="Picture 2" descr="F:\ACHS\111_Maestro\wetransfer-93e533\001-Industria-Baja\Toma2-Baja\800_9825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52660" y="-1"/>
            <a:ext cx="6349364" cy="900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AD0D66B-6497-FD43-99BD-F7D008CB345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1676" y="3889965"/>
            <a:ext cx="2989308" cy="12211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670102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32985" y="0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ED71B396-163D-6C4B-8947-0DE6450E7200}"/>
              </a:ext>
            </a:extLst>
          </p:cNvPr>
          <p:cNvSpPr/>
          <p:nvPr/>
        </p:nvSpPr>
        <p:spPr>
          <a:xfrm>
            <a:off x="671737" y="3568909"/>
            <a:ext cx="325262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spc="300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Antecedentes del ruido en Chile: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xmlns="" id="{20BFEC8A-EA74-FA45-BC69-D4B81B44D072}"/>
              </a:ext>
            </a:extLst>
          </p:cNvPr>
          <p:cNvSpPr/>
          <p:nvPr/>
        </p:nvSpPr>
        <p:spPr>
          <a:xfrm>
            <a:off x="4873889" y="3066797"/>
            <a:ext cx="979345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00025" marR="297815" indent="-187325" algn="just">
              <a:lnSpc>
                <a:spcPct val="100000"/>
              </a:lnSpc>
              <a:spcBef>
                <a:spcPts val="95"/>
              </a:spcBef>
              <a:buClr>
                <a:srgbClr val="027839"/>
              </a:buClr>
              <a:buChar char="•"/>
              <a:tabLst>
                <a:tab pos="200660" algn="l"/>
              </a:tabLst>
            </a:pPr>
            <a:r>
              <a:rPr lang="es-CL" sz="2000" spc="-1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De 1033 </a:t>
            </a: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casos de </a:t>
            </a:r>
            <a:r>
              <a:rPr lang="es-CL" sz="2000" spc="-1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nfermos profesionales </a:t>
            </a: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dictaminados </a:t>
            </a:r>
            <a:r>
              <a:rPr lang="es-CL" sz="2000" spc="-1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or </a:t>
            </a: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la </a:t>
            </a:r>
            <a:r>
              <a:rPr lang="es-CL" sz="2000" spc="-1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COMPIN RM (2005 </a:t>
            </a: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–  2009) el 66,6% corresponde a hipoacusia neurosensorial producida por</a:t>
            </a:r>
            <a:r>
              <a:rPr lang="es-CL" sz="2000" spc="1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ruido.</a:t>
            </a: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algn="just">
              <a:lnSpc>
                <a:spcPct val="100000"/>
              </a:lnSpc>
              <a:spcBef>
                <a:spcPts val="20"/>
              </a:spcBef>
              <a:buClr>
                <a:srgbClr val="027839"/>
              </a:buClr>
              <a:buFont typeface="Arial"/>
              <a:buChar char="•"/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200025" marR="5080" indent="-187325">
              <a:lnSpc>
                <a:spcPct val="100000"/>
              </a:lnSpc>
              <a:buClr>
                <a:srgbClr val="027839"/>
              </a:buClr>
              <a:buChar char="•"/>
              <a:tabLst>
                <a:tab pos="200660" algn="l"/>
              </a:tabLst>
            </a:pP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La Hipoacusia causada por ruido es la principal causa de indemnizaciones y pensiones, con un 80% de las incapacidades permanentes (2005 –</a:t>
            </a:r>
            <a:r>
              <a:rPr lang="es-CL" sz="2000" spc="9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lang="es-CL" sz="2000" spc="-5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2009).</a:t>
            </a: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" name="Rectángulo 17">
            <a:extLst>
              <a:ext uri="{FF2B5EF4-FFF2-40B4-BE49-F238E27FC236}">
                <a16:creationId xmlns:a16="http://schemas.microsoft.com/office/drawing/2014/main" xmlns="" id="{8E38AD2D-DA9C-5A4E-BC3E-8EEA0409F202}"/>
              </a:ext>
            </a:extLst>
          </p:cNvPr>
          <p:cNvSpPr/>
          <p:nvPr/>
        </p:nvSpPr>
        <p:spPr>
          <a:xfrm rot="18900000">
            <a:off x="3551549" y="3528762"/>
            <a:ext cx="811583" cy="811583"/>
          </a:xfrm>
          <a:prstGeom prst="rect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1835A4DE-C1A7-F94A-8812-6AF4C2C6689E}"/>
              </a:ext>
            </a:extLst>
          </p:cNvPr>
          <p:cNvSpPr/>
          <p:nvPr/>
        </p:nvSpPr>
        <p:spPr>
          <a:xfrm>
            <a:off x="7958986" y="4238953"/>
            <a:ext cx="2840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 </a:t>
            </a:r>
            <a:endParaRPr lang="en-US" dirty="0"/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xmlns="" id="{E62AB79F-3248-CF48-B01D-FF6E03C1DD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17436" y="6732810"/>
            <a:ext cx="1224136" cy="60265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xmlns="" id="{1F433C66-9B81-3345-B6B4-ABE99EBF51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12677" y="6480221"/>
            <a:ext cx="1296013" cy="103681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xmlns="" id="{82401634-2EA2-A640-BF65-00E112BF29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8309" y="6480221"/>
            <a:ext cx="928487" cy="103681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xmlns="" id="{462F2DE7-A1B8-2047-A279-F6A4240FC7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42190" y="6459271"/>
            <a:ext cx="941731" cy="107871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xmlns="" id="{4F2A3C20-F498-A840-8607-8FB78DB59E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39244" y="6372203"/>
            <a:ext cx="1365673" cy="11489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1B81011E-0A69-CA40-99A2-0ACA24AA220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50318" y="5977157"/>
            <a:ext cx="1296013" cy="1938992"/>
          </a:xfrm>
          <a:prstGeom prst="rect">
            <a:avLst/>
          </a:prstGeom>
        </p:spPr>
      </p:pic>
      <p:sp>
        <p:nvSpPr>
          <p:cNvPr id="53" name="Título 30">
            <a:extLst>
              <a:ext uri="{FF2B5EF4-FFF2-40B4-BE49-F238E27FC236}">
                <a16:creationId xmlns:a16="http://schemas.microsoft.com/office/drawing/2014/main" xmlns="" id="{DEE13684-1FE4-C94C-BF8E-65E7F5AB3091}"/>
              </a:ext>
            </a:extLst>
          </p:cNvPr>
          <p:cNvSpPr txBox="1">
            <a:spLocks/>
          </p:cNvSpPr>
          <p:nvPr/>
        </p:nvSpPr>
        <p:spPr>
          <a:xfrm>
            <a:off x="-1332869" y="667862"/>
            <a:ext cx="6182408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Introducció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40193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" name="Rectángulo 17">
            <a:extLst>
              <a:ext uri="{FF2B5EF4-FFF2-40B4-BE49-F238E27FC236}">
                <a16:creationId xmlns:a16="http://schemas.microsoft.com/office/drawing/2014/main" xmlns="" id="{8E38AD2D-DA9C-5A4E-BC3E-8EEA0409F202}"/>
              </a:ext>
            </a:extLst>
          </p:cNvPr>
          <p:cNvSpPr/>
          <p:nvPr/>
        </p:nvSpPr>
        <p:spPr>
          <a:xfrm rot="18900000">
            <a:off x="3551549" y="3528762"/>
            <a:ext cx="811583" cy="811583"/>
          </a:xfrm>
          <a:prstGeom prst="rect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1835A4DE-C1A7-F94A-8812-6AF4C2C6689E}"/>
              </a:ext>
            </a:extLst>
          </p:cNvPr>
          <p:cNvSpPr/>
          <p:nvPr/>
        </p:nvSpPr>
        <p:spPr>
          <a:xfrm>
            <a:off x="7958986" y="4238953"/>
            <a:ext cx="2840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 </a:t>
            </a:r>
            <a:endParaRPr lang="en-US" dirty="0"/>
          </a:p>
        </p:txBody>
      </p:sp>
      <p:sp>
        <p:nvSpPr>
          <p:cNvPr id="18" name="Rectangle 2">
            <a:extLst>
              <a:ext uri="{FF2B5EF4-FFF2-40B4-BE49-F238E27FC236}">
                <a16:creationId xmlns:a16="http://schemas.microsoft.com/office/drawing/2014/main" xmlns="" id="{FA35ADE2-7854-AF4C-8324-BB27F14E5806}"/>
              </a:ext>
            </a:extLst>
          </p:cNvPr>
          <p:cNvSpPr/>
          <p:nvPr/>
        </p:nvSpPr>
        <p:spPr>
          <a:xfrm>
            <a:off x="704717" y="3653030"/>
            <a:ext cx="325262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¿Qué es la Hipoacusia?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xmlns="" id="{7A43C4C6-937F-9A43-B58B-20E648566210}"/>
              </a:ext>
            </a:extLst>
          </p:cNvPr>
          <p:cNvSpPr/>
          <p:nvPr/>
        </p:nvSpPr>
        <p:spPr>
          <a:xfrm>
            <a:off x="4573084" y="2056392"/>
            <a:ext cx="73271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95"/>
              </a:spcBef>
              <a:buChar char="•"/>
              <a:tabLst>
                <a:tab pos="240665" algn="l"/>
                <a:tab pos="241300" algn="l"/>
              </a:tabLst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l ruido mata las células nerviosas (ciliadas) que se encuentran en la cóclea.</a:t>
            </a: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241300" marR="16510" indent="-228600">
              <a:lnSpc>
                <a:spcPct val="100000"/>
              </a:lnSpc>
              <a:buChar char="•"/>
              <a:tabLst>
                <a:tab pos="240665" algn="l"/>
                <a:tab pos="241300" algn="l"/>
              </a:tabLst>
            </a:pP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Al producirse la hipoacusia sensorioneural, esta condición es permanente e irreversible.</a:t>
            </a:r>
          </a:p>
        </p:txBody>
      </p:sp>
      <p:sp>
        <p:nvSpPr>
          <p:cNvPr id="21" name="object 3">
            <a:extLst>
              <a:ext uri="{FF2B5EF4-FFF2-40B4-BE49-F238E27FC236}">
                <a16:creationId xmlns:a16="http://schemas.microsoft.com/office/drawing/2014/main" xmlns="" id="{BC842FAD-BE3A-D84F-955B-1C80FAFA6E5B}"/>
              </a:ext>
            </a:extLst>
          </p:cNvPr>
          <p:cNvSpPr/>
          <p:nvPr/>
        </p:nvSpPr>
        <p:spPr>
          <a:xfrm>
            <a:off x="4357059" y="5488969"/>
            <a:ext cx="3600000" cy="252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5">
            <a:extLst>
              <a:ext uri="{FF2B5EF4-FFF2-40B4-BE49-F238E27FC236}">
                <a16:creationId xmlns:a16="http://schemas.microsoft.com/office/drawing/2014/main" xmlns="" id="{279F0E19-2442-334A-80B8-145A40172B20}"/>
              </a:ext>
            </a:extLst>
          </p:cNvPr>
          <p:cNvSpPr/>
          <p:nvPr/>
        </p:nvSpPr>
        <p:spPr>
          <a:xfrm>
            <a:off x="8605467" y="5488969"/>
            <a:ext cx="3600000" cy="25200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1">
            <a:extLst>
              <a:ext uri="{FF2B5EF4-FFF2-40B4-BE49-F238E27FC236}">
                <a16:creationId xmlns:a16="http://schemas.microsoft.com/office/drawing/2014/main" xmlns="" id="{7D2E86CE-3814-C943-9304-97D4C11443E3}"/>
              </a:ext>
            </a:extLst>
          </p:cNvPr>
          <p:cNvSpPr/>
          <p:nvPr/>
        </p:nvSpPr>
        <p:spPr>
          <a:xfrm>
            <a:off x="12205468" y="2720727"/>
            <a:ext cx="3667270" cy="3099996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4">
            <a:extLst>
              <a:ext uri="{FF2B5EF4-FFF2-40B4-BE49-F238E27FC236}">
                <a16:creationId xmlns:a16="http://schemas.microsoft.com/office/drawing/2014/main" xmlns="" id="{5EA02496-3678-D443-BA26-28A8E9F4E356}"/>
              </a:ext>
            </a:extLst>
          </p:cNvPr>
          <p:cNvSpPr txBox="1"/>
          <p:nvPr/>
        </p:nvSpPr>
        <p:spPr>
          <a:xfrm>
            <a:off x="4933059" y="8188217"/>
            <a:ext cx="244800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15C047"/>
                </a:solidFill>
                <a:latin typeface="ACHS Nueva Sans SemiBold" pitchFamily="2" charset="77"/>
                <a:cs typeface="Arial"/>
              </a:rPr>
              <a:t>a) Células</a:t>
            </a:r>
            <a:r>
              <a:rPr sz="1600" b="1" spc="-65" dirty="0">
                <a:solidFill>
                  <a:srgbClr val="15C047"/>
                </a:solidFill>
                <a:latin typeface="ACHS Nueva Sans SemiBold" pitchFamily="2" charset="77"/>
                <a:cs typeface="Arial"/>
              </a:rPr>
              <a:t> </a:t>
            </a:r>
            <a:r>
              <a:rPr sz="1600" b="1" spc="-5" dirty="0">
                <a:solidFill>
                  <a:srgbClr val="15C047"/>
                </a:solidFill>
                <a:latin typeface="ACHS Nueva Sans SemiBold" pitchFamily="2" charset="77"/>
                <a:cs typeface="Arial"/>
              </a:rPr>
              <a:t>vivas</a:t>
            </a:r>
            <a:endParaRPr sz="1600" b="1" dirty="0">
              <a:solidFill>
                <a:srgbClr val="15C047"/>
              </a:solidFill>
              <a:latin typeface="ACHS Nueva Sans SemiBold" pitchFamily="2" charset="77"/>
              <a:cs typeface="Arial"/>
            </a:endParaRPr>
          </a:p>
        </p:txBody>
      </p:sp>
      <p:sp>
        <p:nvSpPr>
          <p:cNvPr id="28" name="object 6">
            <a:extLst>
              <a:ext uri="{FF2B5EF4-FFF2-40B4-BE49-F238E27FC236}">
                <a16:creationId xmlns:a16="http://schemas.microsoft.com/office/drawing/2014/main" xmlns="" id="{4F0F554C-7900-8940-A443-F69F3EE0F43E}"/>
              </a:ext>
            </a:extLst>
          </p:cNvPr>
          <p:cNvSpPr txBox="1"/>
          <p:nvPr/>
        </p:nvSpPr>
        <p:spPr>
          <a:xfrm>
            <a:off x="9107537" y="8234546"/>
            <a:ext cx="244800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15C047"/>
                </a:solidFill>
                <a:latin typeface="ACHS Nueva Sans SemiBold" pitchFamily="2" charset="77"/>
                <a:cs typeface="Arial"/>
              </a:rPr>
              <a:t>b) Células</a:t>
            </a:r>
            <a:r>
              <a:rPr sz="1600" b="1" spc="-60" dirty="0">
                <a:solidFill>
                  <a:srgbClr val="15C047"/>
                </a:solidFill>
                <a:latin typeface="ACHS Nueva Sans SemiBold" pitchFamily="2" charset="77"/>
                <a:cs typeface="Arial"/>
              </a:rPr>
              <a:t> </a:t>
            </a:r>
            <a:r>
              <a:rPr sz="1600" b="1" spc="-5" dirty="0">
                <a:solidFill>
                  <a:srgbClr val="15C047"/>
                </a:solidFill>
                <a:latin typeface="ACHS Nueva Sans SemiBold" pitchFamily="2" charset="77"/>
                <a:cs typeface="Arial"/>
              </a:rPr>
              <a:t>muertas</a:t>
            </a:r>
            <a:endParaRPr sz="1600" b="1" dirty="0">
              <a:solidFill>
                <a:srgbClr val="15C047"/>
              </a:solidFill>
              <a:latin typeface="ACHS Nueva Sans SemiBold" pitchFamily="2" charset="77"/>
              <a:cs typeface="Arial"/>
            </a:endParaRPr>
          </a:p>
        </p:txBody>
      </p:sp>
      <p:sp>
        <p:nvSpPr>
          <p:cNvPr id="30" name="Título 30">
            <a:extLst>
              <a:ext uri="{FF2B5EF4-FFF2-40B4-BE49-F238E27FC236}">
                <a16:creationId xmlns:a16="http://schemas.microsoft.com/office/drawing/2014/main" xmlns="" id="{E1D224D7-C31B-134D-B6B3-A261EC321714}"/>
              </a:ext>
            </a:extLst>
          </p:cNvPr>
          <p:cNvSpPr txBox="1">
            <a:spLocks/>
          </p:cNvSpPr>
          <p:nvPr/>
        </p:nvSpPr>
        <p:spPr>
          <a:xfrm>
            <a:off x="-1350368" y="652049"/>
            <a:ext cx="6182408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Introducció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74326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6ABF5848-1C0E-714B-9BED-F6707C1A07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9242" y="2029701"/>
            <a:ext cx="469900" cy="3238500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5" name="Título 30">
            <a:extLst>
              <a:ext uri="{FF2B5EF4-FFF2-40B4-BE49-F238E27FC236}">
                <a16:creationId xmlns:a16="http://schemas.microsoft.com/office/drawing/2014/main" xmlns="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27980" y="652049"/>
            <a:ext cx="6182408" cy="610116"/>
          </a:xfrm>
        </p:spPr>
        <p:txBody>
          <a:bodyPr>
            <a:norm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Protocolo PREXO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Cronología - documento de referencia: 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:a16="http://schemas.microsoft.com/office/drawing/2014/main" xmlns="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4" name="Rectangle 3">
            <a:extLst>
              <a:ext uri="{FF2B5EF4-FFF2-40B4-BE49-F238E27FC236}">
                <a16:creationId xmlns:a16="http://schemas.microsoft.com/office/drawing/2014/main" xmlns="" id="{7982E062-BD0D-5841-9DDB-BF4D1FFC8213}"/>
              </a:ext>
            </a:extLst>
          </p:cNvPr>
          <p:cNvSpPr/>
          <p:nvPr/>
        </p:nvSpPr>
        <p:spPr>
          <a:xfrm>
            <a:off x="4162705" y="2924446"/>
            <a:ext cx="2975321" cy="12476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32384">
              <a:lnSpc>
                <a:spcPct val="100600"/>
              </a:lnSpc>
              <a:spcBef>
                <a:spcPts val="90"/>
              </a:spcBef>
            </a:pPr>
            <a:r>
              <a:rPr lang="es-CL" sz="19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Decreto Supremo  N°594/99.</a:t>
            </a:r>
          </a:p>
          <a:p>
            <a:pPr marL="12700" marR="32384">
              <a:lnSpc>
                <a:spcPct val="100600"/>
              </a:lnSpc>
              <a:spcBef>
                <a:spcPts val="90"/>
              </a:spcBef>
            </a:pPr>
            <a:endParaRPr lang="es-CL" sz="1900" b="1" dirty="0">
              <a:solidFill>
                <a:srgbClr val="000000"/>
              </a:solidFill>
              <a:latin typeface="ACHS Nueva Sans SemiBold" pitchFamily="2" charset="77"/>
              <a:cs typeface="Calibri" panose="020F0502020204030204" pitchFamily="34" charset="0"/>
            </a:endParaRPr>
          </a:p>
          <a:p>
            <a:pPr marL="12700">
              <a:lnSpc>
                <a:spcPts val="2030"/>
              </a:lnSpc>
            </a:pPr>
            <a:r>
              <a:rPr lang="es-CL" sz="1900" b="1" dirty="0">
                <a:solidFill>
                  <a:srgbClr val="000000"/>
                </a:solidFill>
                <a:latin typeface="ACHS Nueva Sans SemiBold" pitchFamily="2" charset="77"/>
                <a:cs typeface="Calibri" panose="020F0502020204030204" pitchFamily="34" charset="0"/>
              </a:rPr>
              <a:t>Artículos N° 70 al N°  82.</a:t>
            </a:r>
          </a:p>
        </p:txBody>
      </p:sp>
      <p:sp>
        <p:nvSpPr>
          <p:cNvPr id="45" name="object 9">
            <a:extLst>
              <a:ext uri="{FF2B5EF4-FFF2-40B4-BE49-F238E27FC236}">
                <a16:creationId xmlns:a16="http://schemas.microsoft.com/office/drawing/2014/main" xmlns="" id="{14BCC1F5-0FAE-DF46-956D-0B8DD642D195}"/>
              </a:ext>
            </a:extLst>
          </p:cNvPr>
          <p:cNvSpPr txBox="1"/>
          <p:nvPr/>
        </p:nvSpPr>
        <p:spPr>
          <a:xfrm>
            <a:off x="7668964" y="2144043"/>
            <a:ext cx="8064749" cy="321242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Instructivo para la Aplicación del DS 594/99. Ruido.</a:t>
            </a:r>
          </a:p>
        </p:txBody>
      </p:sp>
      <p:sp>
        <p:nvSpPr>
          <p:cNvPr id="46" name="object 10">
            <a:extLst>
              <a:ext uri="{FF2B5EF4-FFF2-40B4-BE49-F238E27FC236}">
                <a16:creationId xmlns:a16="http://schemas.microsoft.com/office/drawing/2014/main" xmlns="" id="{C23867DD-0FD2-C541-95A8-881DA4893DEF}"/>
              </a:ext>
            </a:extLst>
          </p:cNvPr>
          <p:cNvSpPr txBox="1"/>
          <p:nvPr/>
        </p:nvSpPr>
        <p:spPr>
          <a:xfrm>
            <a:off x="7668963" y="3027192"/>
            <a:ext cx="8064749" cy="321242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Guía para la Selección y Control de EPA.</a:t>
            </a:r>
          </a:p>
        </p:txBody>
      </p:sp>
      <p:sp>
        <p:nvSpPr>
          <p:cNvPr id="47" name="object 11">
            <a:extLst>
              <a:ext uri="{FF2B5EF4-FFF2-40B4-BE49-F238E27FC236}">
                <a16:creationId xmlns:a16="http://schemas.microsoft.com/office/drawing/2014/main" xmlns="" id="{3F8412A7-0B6F-1542-A6B3-8B5962782A4E}"/>
              </a:ext>
            </a:extLst>
          </p:cNvPr>
          <p:cNvSpPr txBox="1"/>
          <p:nvPr/>
        </p:nvSpPr>
        <p:spPr>
          <a:xfrm>
            <a:off x="7668964" y="3963296"/>
            <a:ext cx="8064749" cy="321242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Guía Preventiva para los trabajadores expuestos a ruido.</a:t>
            </a:r>
          </a:p>
        </p:txBody>
      </p:sp>
      <p:sp>
        <p:nvSpPr>
          <p:cNvPr id="48" name="object 12">
            <a:extLst>
              <a:ext uri="{FF2B5EF4-FFF2-40B4-BE49-F238E27FC236}">
                <a16:creationId xmlns:a16="http://schemas.microsoft.com/office/drawing/2014/main" xmlns="" id="{BF5DA3B3-46FA-CF45-9539-D2158F4DFE42}"/>
              </a:ext>
            </a:extLst>
          </p:cNvPr>
          <p:cNvSpPr txBox="1"/>
          <p:nvPr/>
        </p:nvSpPr>
        <p:spPr>
          <a:xfrm>
            <a:off x="7668964" y="4745513"/>
            <a:ext cx="8064749" cy="321242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Guía para la Mantención y Calibración de la Instrumentación.</a:t>
            </a:r>
          </a:p>
        </p:txBody>
      </p:sp>
      <p:sp>
        <p:nvSpPr>
          <p:cNvPr id="50" name="object 8">
            <a:extLst>
              <a:ext uri="{FF2B5EF4-FFF2-40B4-BE49-F238E27FC236}">
                <a16:creationId xmlns:a16="http://schemas.microsoft.com/office/drawing/2014/main" xmlns="" id="{0E063969-426C-FC43-84F4-6055944EBB96}"/>
              </a:ext>
            </a:extLst>
          </p:cNvPr>
          <p:cNvSpPr/>
          <p:nvPr/>
        </p:nvSpPr>
        <p:spPr>
          <a:xfrm>
            <a:off x="5652740" y="5796706"/>
            <a:ext cx="8928992" cy="295232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59035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3">
            <a:extLst>
              <a:ext uri="{FF2B5EF4-FFF2-40B4-BE49-F238E27FC236}">
                <a16:creationId xmlns:a16="http://schemas.microsoft.com/office/drawing/2014/main" xmlns="" id="{FA878700-5E88-4D49-88EF-5D548B5436DF}"/>
              </a:ext>
            </a:extLst>
          </p:cNvPr>
          <p:cNvSpPr/>
          <p:nvPr/>
        </p:nvSpPr>
        <p:spPr>
          <a:xfrm>
            <a:off x="4716636" y="2005250"/>
            <a:ext cx="979345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455930" algn="just"/>
            <a:r>
              <a:rPr lang="es-CL" sz="2000" b="1" dirty="0">
                <a:solidFill>
                  <a:srgbClr val="15C047"/>
                </a:solidFill>
                <a:latin typeface="ACHS Nueva Serif" pitchFamily="2" charset="77"/>
                <a:cs typeface="Calibri" panose="020F0502020204030204" pitchFamily="34" charset="0"/>
              </a:rPr>
              <a:t>Propósito:</a:t>
            </a:r>
          </a:p>
          <a:p>
            <a:pPr marR="455930" algn="just"/>
            <a:endParaRPr lang="es-CL" sz="2000" dirty="0">
              <a:solidFill>
                <a:srgbClr val="15C047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R="455930"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Contribuir a disminuir la incidencia y prevalencia de hipoacusia de origen ocupacional.</a:t>
            </a:r>
          </a:p>
          <a:p>
            <a:pPr marL="472440" marR="455930" indent="-1905" algn="just"/>
            <a:endParaRPr lang="es-CL" sz="2000" dirty="0">
              <a:solidFill>
                <a:srgbClr val="15C047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R="455930" algn="just"/>
            <a:r>
              <a:rPr lang="es-CL" sz="2000" b="1" dirty="0">
                <a:solidFill>
                  <a:srgbClr val="15C047"/>
                </a:solidFill>
                <a:latin typeface="ACHS Nueva Serif" pitchFamily="2" charset="77"/>
                <a:cs typeface="Calibri" panose="020F0502020204030204" pitchFamily="34" charset="0"/>
              </a:rPr>
              <a:t>¿Cómo?: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ableciendo criterios comunes sobre el concepto de exposición, para efectuar el seguimiento y establecer los  plazos en las acciones preventivas y sanitarias.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5" name="Título 30">
            <a:extLst>
              <a:ext uri="{FF2B5EF4-FFF2-40B4-BE49-F238E27FC236}">
                <a16:creationId xmlns:a16="http://schemas.microsoft.com/office/drawing/2014/main" xmlns="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27980" y="652049"/>
            <a:ext cx="6182408" cy="610116"/>
          </a:xfrm>
        </p:spPr>
        <p:txBody>
          <a:bodyPr>
            <a:norm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Protocolo PREXO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Objetivo: 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:a16="http://schemas.microsoft.com/office/drawing/2014/main" xmlns="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1</a:t>
            </a:r>
          </a:p>
        </p:txBody>
      </p:sp>
      <p:sp>
        <p:nvSpPr>
          <p:cNvPr id="20" name="object 4">
            <a:extLst>
              <a:ext uri="{FF2B5EF4-FFF2-40B4-BE49-F238E27FC236}">
                <a16:creationId xmlns:a16="http://schemas.microsoft.com/office/drawing/2014/main" xmlns="" id="{956AFCBE-B3DD-AE4A-A86E-5C5154430AF7}"/>
              </a:ext>
            </a:extLst>
          </p:cNvPr>
          <p:cNvSpPr/>
          <p:nvPr/>
        </p:nvSpPr>
        <p:spPr>
          <a:xfrm>
            <a:off x="7308074" y="5153618"/>
            <a:ext cx="4610582" cy="318608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14604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5" name="Título 30">
            <a:extLst>
              <a:ext uri="{FF2B5EF4-FFF2-40B4-BE49-F238E27FC236}">
                <a16:creationId xmlns:a16="http://schemas.microsoft.com/office/drawing/2014/main" xmlns="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27980" y="652049"/>
            <a:ext cx="6182408" cy="610116"/>
          </a:xfrm>
        </p:spPr>
        <p:txBody>
          <a:bodyPr>
            <a:norm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Protocolo PREXO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Entrada en vigencia: 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:a16="http://schemas.microsoft.com/office/drawing/2014/main" xmlns="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1</a:t>
            </a:r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xmlns="" id="{017CA75E-BC94-2B46-85A0-05DAEE1FFD39}"/>
              </a:ext>
            </a:extLst>
          </p:cNvPr>
          <p:cNvSpPr/>
          <p:nvPr/>
        </p:nvSpPr>
        <p:spPr>
          <a:xfrm>
            <a:off x="5590598" y="1835263"/>
            <a:ext cx="8861836" cy="52499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12700">
            <a:solidFill>
              <a:schemeClr val="tx1">
                <a:lumMod val="50000"/>
                <a:lumOff val="50000"/>
                <a:alpha val="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xmlns="" id="{53E91256-BB9E-D84A-B1F3-96BEEC3B88D5}"/>
              </a:ext>
            </a:extLst>
          </p:cNvPr>
          <p:cNvSpPr/>
          <p:nvPr/>
        </p:nvSpPr>
        <p:spPr>
          <a:xfrm>
            <a:off x="6948884" y="5308606"/>
            <a:ext cx="2599806" cy="1635796"/>
          </a:xfrm>
          <a:custGeom>
            <a:avLst/>
            <a:gdLst/>
            <a:ahLst/>
            <a:cxnLst/>
            <a:rect l="l" t="t" r="r" b="b"/>
            <a:pathLst>
              <a:path w="1790700" h="1054100">
                <a:moveTo>
                  <a:pt x="0" y="527050"/>
                </a:moveTo>
                <a:lnTo>
                  <a:pt x="7538" y="458340"/>
                </a:lnTo>
                <a:lnTo>
                  <a:pt x="29524" y="392303"/>
                </a:lnTo>
                <a:lnTo>
                  <a:pt x="65015" y="329493"/>
                </a:lnTo>
                <a:lnTo>
                  <a:pt x="113066" y="270467"/>
                </a:lnTo>
                <a:lnTo>
                  <a:pt x="141508" y="242546"/>
                </a:lnTo>
                <a:lnTo>
                  <a:pt x="172736" y="215780"/>
                </a:lnTo>
                <a:lnTo>
                  <a:pt x="206632" y="190237"/>
                </a:lnTo>
                <a:lnTo>
                  <a:pt x="243079" y="165986"/>
                </a:lnTo>
                <a:lnTo>
                  <a:pt x="281959" y="143099"/>
                </a:lnTo>
                <a:lnTo>
                  <a:pt x="323154" y="121643"/>
                </a:lnTo>
                <a:lnTo>
                  <a:pt x="366546" y="101689"/>
                </a:lnTo>
                <a:lnTo>
                  <a:pt x="412017" y="83305"/>
                </a:lnTo>
                <a:lnTo>
                  <a:pt x="459448" y="66562"/>
                </a:lnTo>
                <a:lnTo>
                  <a:pt x="508723" y="51529"/>
                </a:lnTo>
                <a:lnTo>
                  <a:pt x="559723" y="38274"/>
                </a:lnTo>
                <a:lnTo>
                  <a:pt x="612331" y="26869"/>
                </a:lnTo>
                <a:lnTo>
                  <a:pt x="666427" y="17381"/>
                </a:lnTo>
                <a:lnTo>
                  <a:pt x="721895" y="9881"/>
                </a:lnTo>
                <a:lnTo>
                  <a:pt x="778617" y="4437"/>
                </a:lnTo>
                <a:lnTo>
                  <a:pt x="836474" y="1121"/>
                </a:lnTo>
                <a:lnTo>
                  <a:pt x="895350" y="0"/>
                </a:lnTo>
                <a:lnTo>
                  <a:pt x="954225" y="1121"/>
                </a:lnTo>
                <a:lnTo>
                  <a:pt x="1012082" y="4437"/>
                </a:lnTo>
                <a:lnTo>
                  <a:pt x="1068804" y="9881"/>
                </a:lnTo>
                <a:lnTo>
                  <a:pt x="1124272" y="17381"/>
                </a:lnTo>
                <a:lnTo>
                  <a:pt x="1178368" y="26869"/>
                </a:lnTo>
                <a:lnTo>
                  <a:pt x="1230976" y="38274"/>
                </a:lnTo>
                <a:lnTo>
                  <a:pt x="1281976" y="51529"/>
                </a:lnTo>
                <a:lnTo>
                  <a:pt x="1331251" y="66562"/>
                </a:lnTo>
                <a:lnTo>
                  <a:pt x="1378682" y="83305"/>
                </a:lnTo>
                <a:lnTo>
                  <a:pt x="1424153" y="101689"/>
                </a:lnTo>
                <a:lnTo>
                  <a:pt x="1467545" y="121643"/>
                </a:lnTo>
                <a:lnTo>
                  <a:pt x="1508740" y="143099"/>
                </a:lnTo>
                <a:lnTo>
                  <a:pt x="1547620" y="165986"/>
                </a:lnTo>
                <a:lnTo>
                  <a:pt x="1584067" y="190237"/>
                </a:lnTo>
                <a:lnTo>
                  <a:pt x="1617963" y="215780"/>
                </a:lnTo>
                <a:lnTo>
                  <a:pt x="1649191" y="242546"/>
                </a:lnTo>
                <a:lnTo>
                  <a:pt x="1677633" y="270467"/>
                </a:lnTo>
                <a:lnTo>
                  <a:pt x="1703170" y="299473"/>
                </a:lnTo>
                <a:lnTo>
                  <a:pt x="1745059" y="360460"/>
                </a:lnTo>
                <a:lnTo>
                  <a:pt x="1773915" y="424953"/>
                </a:lnTo>
                <a:lnTo>
                  <a:pt x="1788795" y="492396"/>
                </a:lnTo>
                <a:lnTo>
                  <a:pt x="1790700" y="527050"/>
                </a:lnTo>
                <a:lnTo>
                  <a:pt x="1788795" y="561703"/>
                </a:lnTo>
                <a:lnTo>
                  <a:pt x="1773915" y="629146"/>
                </a:lnTo>
                <a:lnTo>
                  <a:pt x="1745059" y="693639"/>
                </a:lnTo>
                <a:lnTo>
                  <a:pt x="1703170" y="754626"/>
                </a:lnTo>
                <a:lnTo>
                  <a:pt x="1677633" y="783632"/>
                </a:lnTo>
                <a:lnTo>
                  <a:pt x="1649191" y="811553"/>
                </a:lnTo>
                <a:lnTo>
                  <a:pt x="1617963" y="838319"/>
                </a:lnTo>
                <a:lnTo>
                  <a:pt x="1584067" y="863862"/>
                </a:lnTo>
                <a:lnTo>
                  <a:pt x="1547620" y="888113"/>
                </a:lnTo>
                <a:lnTo>
                  <a:pt x="1508740" y="911000"/>
                </a:lnTo>
                <a:lnTo>
                  <a:pt x="1467545" y="932456"/>
                </a:lnTo>
                <a:lnTo>
                  <a:pt x="1424153" y="952410"/>
                </a:lnTo>
                <a:lnTo>
                  <a:pt x="1378682" y="970794"/>
                </a:lnTo>
                <a:lnTo>
                  <a:pt x="1331251" y="987537"/>
                </a:lnTo>
                <a:lnTo>
                  <a:pt x="1281976" y="1002570"/>
                </a:lnTo>
                <a:lnTo>
                  <a:pt x="1230976" y="1015825"/>
                </a:lnTo>
                <a:lnTo>
                  <a:pt x="1178368" y="1027230"/>
                </a:lnTo>
                <a:lnTo>
                  <a:pt x="1124272" y="1036718"/>
                </a:lnTo>
                <a:lnTo>
                  <a:pt x="1068804" y="1044218"/>
                </a:lnTo>
                <a:lnTo>
                  <a:pt x="1012082" y="1049662"/>
                </a:lnTo>
                <a:lnTo>
                  <a:pt x="954225" y="1052978"/>
                </a:lnTo>
                <a:lnTo>
                  <a:pt x="895350" y="1054100"/>
                </a:lnTo>
                <a:lnTo>
                  <a:pt x="836474" y="1052978"/>
                </a:lnTo>
                <a:lnTo>
                  <a:pt x="778617" y="1049662"/>
                </a:lnTo>
                <a:lnTo>
                  <a:pt x="721895" y="1044218"/>
                </a:lnTo>
                <a:lnTo>
                  <a:pt x="666427" y="1036718"/>
                </a:lnTo>
                <a:lnTo>
                  <a:pt x="612331" y="1027230"/>
                </a:lnTo>
                <a:lnTo>
                  <a:pt x="559723" y="1015825"/>
                </a:lnTo>
                <a:lnTo>
                  <a:pt x="508723" y="1002570"/>
                </a:lnTo>
                <a:lnTo>
                  <a:pt x="459448" y="987537"/>
                </a:lnTo>
                <a:lnTo>
                  <a:pt x="412017" y="970794"/>
                </a:lnTo>
                <a:lnTo>
                  <a:pt x="366546" y="952410"/>
                </a:lnTo>
                <a:lnTo>
                  <a:pt x="323154" y="932456"/>
                </a:lnTo>
                <a:lnTo>
                  <a:pt x="281959" y="911000"/>
                </a:lnTo>
                <a:lnTo>
                  <a:pt x="243079" y="888113"/>
                </a:lnTo>
                <a:lnTo>
                  <a:pt x="206632" y="863862"/>
                </a:lnTo>
                <a:lnTo>
                  <a:pt x="172736" y="838319"/>
                </a:lnTo>
                <a:lnTo>
                  <a:pt x="141508" y="811553"/>
                </a:lnTo>
                <a:lnTo>
                  <a:pt x="113066" y="783632"/>
                </a:lnTo>
                <a:lnTo>
                  <a:pt x="87529" y="754626"/>
                </a:lnTo>
                <a:lnTo>
                  <a:pt x="45640" y="693639"/>
                </a:lnTo>
                <a:lnTo>
                  <a:pt x="16784" y="629146"/>
                </a:lnTo>
                <a:lnTo>
                  <a:pt x="1904" y="561703"/>
                </a:lnTo>
                <a:lnTo>
                  <a:pt x="0" y="527050"/>
                </a:lnTo>
                <a:close/>
              </a:path>
            </a:pathLst>
          </a:custGeom>
          <a:ln w="28575">
            <a:solidFill>
              <a:srgbClr val="FF0000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7">
            <a:extLst>
              <a:ext uri="{FF2B5EF4-FFF2-40B4-BE49-F238E27FC236}">
                <a16:creationId xmlns:a16="http://schemas.microsoft.com/office/drawing/2014/main" xmlns="" id="{753414C7-D45B-FA4C-984A-C32B701A77DC}"/>
              </a:ext>
            </a:extLst>
          </p:cNvPr>
          <p:cNvSpPr/>
          <p:nvPr/>
        </p:nvSpPr>
        <p:spPr>
          <a:xfrm>
            <a:off x="8791905" y="3692518"/>
            <a:ext cx="2396985" cy="1616088"/>
          </a:xfrm>
          <a:custGeom>
            <a:avLst/>
            <a:gdLst/>
            <a:ahLst/>
            <a:cxnLst/>
            <a:rect l="l" t="t" r="r" b="b"/>
            <a:pathLst>
              <a:path w="1651000" h="1041400">
                <a:moveTo>
                  <a:pt x="0" y="520700"/>
                </a:moveTo>
                <a:lnTo>
                  <a:pt x="8197" y="447043"/>
                </a:lnTo>
                <a:lnTo>
                  <a:pt x="32044" y="376558"/>
                </a:lnTo>
                <a:lnTo>
                  <a:pt x="70423" y="309949"/>
                </a:lnTo>
                <a:lnTo>
                  <a:pt x="94713" y="278320"/>
                </a:lnTo>
                <a:lnTo>
                  <a:pt x="122217" y="247923"/>
                </a:lnTo>
                <a:lnTo>
                  <a:pt x="152795" y="218849"/>
                </a:lnTo>
                <a:lnTo>
                  <a:pt x="186309" y="191185"/>
                </a:lnTo>
                <a:lnTo>
                  <a:pt x="222617" y="165020"/>
                </a:lnTo>
                <a:lnTo>
                  <a:pt x="261581" y="140441"/>
                </a:lnTo>
                <a:lnTo>
                  <a:pt x="303061" y="117536"/>
                </a:lnTo>
                <a:lnTo>
                  <a:pt x="346916" y="96395"/>
                </a:lnTo>
                <a:lnTo>
                  <a:pt x="393008" y="77104"/>
                </a:lnTo>
                <a:lnTo>
                  <a:pt x="441198" y="59753"/>
                </a:lnTo>
                <a:lnTo>
                  <a:pt x="491344" y="44429"/>
                </a:lnTo>
                <a:lnTo>
                  <a:pt x="543307" y="31221"/>
                </a:lnTo>
                <a:lnTo>
                  <a:pt x="596949" y="20216"/>
                </a:lnTo>
                <a:lnTo>
                  <a:pt x="652128" y="11504"/>
                </a:lnTo>
                <a:lnTo>
                  <a:pt x="708706" y="5171"/>
                </a:lnTo>
                <a:lnTo>
                  <a:pt x="766543" y="1307"/>
                </a:lnTo>
                <a:lnTo>
                  <a:pt x="825500" y="0"/>
                </a:lnTo>
                <a:lnTo>
                  <a:pt x="884456" y="1307"/>
                </a:lnTo>
                <a:lnTo>
                  <a:pt x="942293" y="5171"/>
                </a:lnTo>
                <a:lnTo>
                  <a:pt x="998871" y="11504"/>
                </a:lnTo>
                <a:lnTo>
                  <a:pt x="1054050" y="20216"/>
                </a:lnTo>
                <a:lnTo>
                  <a:pt x="1107692" y="31221"/>
                </a:lnTo>
                <a:lnTo>
                  <a:pt x="1159655" y="44429"/>
                </a:lnTo>
                <a:lnTo>
                  <a:pt x="1209801" y="59753"/>
                </a:lnTo>
                <a:lnTo>
                  <a:pt x="1257991" y="77104"/>
                </a:lnTo>
                <a:lnTo>
                  <a:pt x="1304083" y="96395"/>
                </a:lnTo>
                <a:lnTo>
                  <a:pt x="1347938" y="117536"/>
                </a:lnTo>
                <a:lnTo>
                  <a:pt x="1389418" y="140441"/>
                </a:lnTo>
                <a:lnTo>
                  <a:pt x="1428382" y="165020"/>
                </a:lnTo>
                <a:lnTo>
                  <a:pt x="1464690" y="191185"/>
                </a:lnTo>
                <a:lnTo>
                  <a:pt x="1498204" y="218849"/>
                </a:lnTo>
                <a:lnTo>
                  <a:pt x="1528782" y="247923"/>
                </a:lnTo>
                <a:lnTo>
                  <a:pt x="1556286" y="278320"/>
                </a:lnTo>
                <a:lnTo>
                  <a:pt x="1580576" y="309949"/>
                </a:lnTo>
                <a:lnTo>
                  <a:pt x="1601513" y="342725"/>
                </a:lnTo>
                <a:lnTo>
                  <a:pt x="1632765" y="411360"/>
                </a:lnTo>
                <a:lnTo>
                  <a:pt x="1648927" y="483519"/>
                </a:lnTo>
                <a:lnTo>
                  <a:pt x="1651000" y="520700"/>
                </a:lnTo>
                <a:lnTo>
                  <a:pt x="1648927" y="557895"/>
                </a:lnTo>
                <a:lnTo>
                  <a:pt x="1632765" y="630077"/>
                </a:lnTo>
                <a:lnTo>
                  <a:pt x="1601513" y="698725"/>
                </a:lnTo>
                <a:lnTo>
                  <a:pt x="1580576" y="731504"/>
                </a:lnTo>
                <a:lnTo>
                  <a:pt x="1556286" y="763136"/>
                </a:lnTo>
                <a:lnTo>
                  <a:pt x="1528782" y="793532"/>
                </a:lnTo>
                <a:lnTo>
                  <a:pt x="1498204" y="822605"/>
                </a:lnTo>
                <a:lnTo>
                  <a:pt x="1464690" y="850266"/>
                </a:lnTo>
                <a:lnTo>
                  <a:pt x="1428382" y="876429"/>
                </a:lnTo>
                <a:lnTo>
                  <a:pt x="1389418" y="901004"/>
                </a:lnTo>
                <a:lnTo>
                  <a:pt x="1347938" y="923903"/>
                </a:lnTo>
                <a:lnTo>
                  <a:pt x="1304083" y="945040"/>
                </a:lnTo>
                <a:lnTo>
                  <a:pt x="1257991" y="964325"/>
                </a:lnTo>
                <a:lnTo>
                  <a:pt x="1209801" y="981671"/>
                </a:lnTo>
                <a:lnTo>
                  <a:pt x="1159655" y="996989"/>
                </a:lnTo>
                <a:lnTo>
                  <a:pt x="1107692" y="1010192"/>
                </a:lnTo>
                <a:lnTo>
                  <a:pt x="1054050" y="1021192"/>
                </a:lnTo>
                <a:lnTo>
                  <a:pt x="998871" y="1029901"/>
                </a:lnTo>
                <a:lnTo>
                  <a:pt x="942293" y="1036230"/>
                </a:lnTo>
                <a:lnTo>
                  <a:pt x="884456" y="1040093"/>
                </a:lnTo>
                <a:lnTo>
                  <a:pt x="825500" y="1041400"/>
                </a:lnTo>
                <a:lnTo>
                  <a:pt x="766543" y="1040093"/>
                </a:lnTo>
                <a:lnTo>
                  <a:pt x="708706" y="1036230"/>
                </a:lnTo>
                <a:lnTo>
                  <a:pt x="652128" y="1029901"/>
                </a:lnTo>
                <a:lnTo>
                  <a:pt x="596949" y="1021192"/>
                </a:lnTo>
                <a:lnTo>
                  <a:pt x="543307" y="1010192"/>
                </a:lnTo>
                <a:lnTo>
                  <a:pt x="491344" y="996989"/>
                </a:lnTo>
                <a:lnTo>
                  <a:pt x="441198" y="981671"/>
                </a:lnTo>
                <a:lnTo>
                  <a:pt x="393008" y="964325"/>
                </a:lnTo>
                <a:lnTo>
                  <a:pt x="346916" y="945040"/>
                </a:lnTo>
                <a:lnTo>
                  <a:pt x="303061" y="923903"/>
                </a:lnTo>
                <a:lnTo>
                  <a:pt x="261581" y="901004"/>
                </a:lnTo>
                <a:lnTo>
                  <a:pt x="222617" y="876429"/>
                </a:lnTo>
                <a:lnTo>
                  <a:pt x="186309" y="850266"/>
                </a:lnTo>
                <a:lnTo>
                  <a:pt x="152795" y="822605"/>
                </a:lnTo>
                <a:lnTo>
                  <a:pt x="122217" y="793532"/>
                </a:lnTo>
                <a:lnTo>
                  <a:pt x="94713" y="763136"/>
                </a:lnTo>
                <a:lnTo>
                  <a:pt x="70423" y="731504"/>
                </a:lnTo>
                <a:lnTo>
                  <a:pt x="49486" y="698725"/>
                </a:lnTo>
                <a:lnTo>
                  <a:pt x="18234" y="630077"/>
                </a:lnTo>
                <a:lnTo>
                  <a:pt x="2072" y="557895"/>
                </a:lnTo>
                <a:lnTo>
                  <a:pt x="0" y="520700"/>
                </a:lnTo>
                <a:close/>
              </a:path>
            </a:pathLst>
          </a:custGeom>
          <a:ln w="28575">
            <a:solidFill>
              <a:srgbClr val="FF0000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5">
            <a:extLst>
              <a:ext uri="{FF2B5EF4-FFF2-40B4-BE49-F238E27FC236}">
                <a16:creationId xmlns:a16="http://schemas.microsoft.com/office/drawing/2014/main" xmlns="" id="{0B9D6F38-5A64-924B-AC35-EDE35DDDC367}"/>
              </a:ext>
            </a:extLst>
          </p:cNvPr>
          <p:cNvSpPr txBox="1"/>
          <p:nvPr/>
        </p:nvSpPr>
        <p:spPr>
          <a:xfrm>
            <a:off x="5508724" y="7537437"/>
            <a:ext cx="9118700" cy="1047723"/>
          </a:xfrm>
          <a:prstGeom prst="rect">
            <a:avLst/>
          </a:prstGeom>
          <a:solidFill>
            <a:srgbClr val="EAEADE"/>
          </a:solidFill>
        </p:spPr>
        <p:txBody>
          <a:bodyPr vert="horz" wrap="square" lIns="0" tIns="123190" rIns="0" bIns="0" rtlCol="0" anchor="ctr">
            <a:spAutoFit/>
          </a:bodyPr>
          <a:lstStyle/>
          <a:p>
            <a:pPr marL="182563" marR="520065" algn="ctr"/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El Prexor constituye la Norma Técnica N° 125, aprobada por el </a:t>
            </a:r>
            <a:r>
              <a:rPr lang="es-CL"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Decreto N° </a:t>
            </a: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1.029 exento, vigente a partir del 26 de noviembre de 2011. </a:t>
            </a:r>
            <a:r>
              <a:rPr lang="es-CL"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Actualizado por</a:t>
            </a: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 el Decreto N°</a:t>
            </a:r>
            <a:r>
              <a:rPr lang="es-CL"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sz="20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1.052 del 14 de octubre de 2013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3786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3">
            <a:extLst>
              <a:ext uri="{FF2B5EF4-FFF2-40B4-BE49-F238E27FC236}">
                <a16:creationId xmlns:a16="http://schemas.microsoft.com/office/drawing/2014/main" xmlns="" id="{B849A91E-35D2-0A44-A609-7D554BA0DA7D}"/>
              </a:ext>
            </a:extLst>
          </p:cNvPr>
          <p:cNvSpPr/>
          <p:nvPr/>
        </p:nvSpPr>
        <p:spPr>
          <a:xfrm>
            <a:off x="4716636" y="2005250"/>
            <a:ext cx="10009112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PREXOR incorpora el concepto de </a:t>
            </a: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“Criterio de Acción”,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que corresponde a un valor preventivo, que si es excedido, la empresa deberá implementar medidas de control de ruido inmediatas, destinadas a  disminuir la exposición ocupacional a ruido de los trabajadores, como también para gestionar el  Programa de Vigilancia de la Salud.</a:t>
            </a:r>
          </a:p>
          <a:p>
            <a:pPr algn="just"/>
            <a:endParaRPr lang="es-CL" sz="2000" dirty="0">
              <a:solidFill>
                <a:schemeClr val="tx1">
                  <a:lumMod val="50000"/>
                </a:schemeClr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2700" algn="just"/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l</a:t>
            </a:r>
            <a:r>
              <a:rPr lang="es-CL" sz="20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“Criterio de Acción”,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contempla los siguientes indicadores:</a:t>
            </a:r>
            <a:r>
              <a:rPr lang="es-CL" sz="2000" dirty="0">
                <a:solidFill>
                  <a:schemeClr val="tx1">
                    <a:lumMod val="50000"/>
                  </a:schemeClr>
                </a:solidFill>
                <a:latin typeface="ACHS Nueva Sans Medium" pitchFamily="2" charset="77"/>
                <a:cs typeface="Calibri" panose="020F0502020204030204" pitchFamily="34" charset="0"/>
              </a:rPr>
              <a:t> </a:t>
            </a: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“Dosis de Acción”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o </a:t>
            </a: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“Nivel de Acción”:</a:t>
            </a:r>
          </a:p>
          <a:p>
            <a:pPr marL="12700" algn="just"/>
            <a:endParaRPr lang="es-CL" sz="2000" dirty="0">
              <a:solidFill>
                <a:schemeClr val="tx1">
                  <a:lumMod val="50000"/>
                </a:schemeClr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355600" indent="-342900" algn="just">
              <a:buFont typeface="+mj-lt"/>
              <a:buAutoNum type="alphaLcPeriod"/>
            </a:pP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Dosis de Acción igual 0,5 </a:t>
            </a:r>
            <a:r>
              <a:rPr lang="es-CL" sz="2000" b="1" dirty="0" err="1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ó</a:t>
            </a: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 50%: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e valor corresponde a la mitad de la dosis de  ruido máxima (DMP=1) establecida en el DS N°594/1999.</a:t>
            </a:r>
          </a:p>
          <a:p>
            <a:pPr marL="355600" indent="-342900" algn="just">
              <a:buFont typeface="+mj-lt"/>
              <a:buAutoNum type="alphaLcPeriod"/>
            </a:pPr>
            <a:endParaRPr lang="es-CL" sz="2000" dirty="0">
              <a:solidFill>
                <a:schemeClr val="tx1">
                  <a:lumMod val="50000"/>
                </a:schemeClr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355600" indent="-342900" algn="just">
              <a:buFont typeface="+mj-lt"/>
              <a:buAutoNum type="alphaLcPeriod"/>
            </a:pP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Nivel de Acción igual a 82 dB(A): 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Este valor es equivalente a una Dosis de Ruido  de 0,5 </a:t>
            </a:r>
            <a:r>
              <a:rPr lang="es-CL" sz="2000" dirty="0" err="1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ó</a:t>
            </a:r>
            <a:r>
              <a:rPr lang="es-CL" sz="2000" dirty="0">
                <a:solidFill>
                  <a:srgbClr val="000000"/>
                </a:solidFill>
                <a:latin typeface="ACHS Nueva Sans Medium" pitchFamily="2" charset="77"/>
                <a:cs typeface="Calibri" panose="020F0502020204030204" pitchFamily="34" charset="0"/>
              </a:rPr>
              <a:t> 50%, para un tiempo efectivo de exposición diario de 8 horas.</a:t>
            </a:r>
          </a:p>
          <a:p>
            <a:pPr marL="12700" algn="just"/>
            <a:endParaRPr lang="es-CL" sz="2000" dirty="0">
              <a:solidFill>
                <a:srgbClr val="000000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2700" algn="just"/>
            <a:endParaRPr lang="es-CL" sz="2000" dirty="0">
              <a:solidFill>
                <a:schemeClr val="tx1">
                  <a:lumMod val="50000"/>
                </a:schemeClr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12700" algn="just"/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Nivel de Acción para Ruido Impulsivo: 135 dB (C) </a:t>
            </a:r>
            <a:r>
              <a:rPr lang="es-CL" sz="2000" b="1" dirty="0" err="1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peak</a:t>
            </a:r>
            <a:r>
              <a:rPr lang="es-CL" sz="2000" b="1" dirty="0">
                <a:solidFill>
                  <a:srgbClr val="15C047"/>
                </a:solidFill>
                <a:latin typeface="ACHS Nueva Sans SemiBold" pitchFamily="2" charset="77"/>
                <a:cs typeface="Calibri" panose="020F0502020204030204" pitchFamily="34" charset="0"/>
              </a:rPr>
              <a:t>.</a:t>
            </a:r>
          </a:p>
          <a:p>
            <a:pPr marL="12700" algn="just"/>
            <a:endParaRPr lang="es-CL" sz="2000" dirty="0">
              <a:solidFill>
                <a:schemeClr val="tx1">
                  <a:lumMod val="50000"/>
                </a:schemeClr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30686B6-6526-D34D-A488-32BFBCB9E130}"/>
              </a:ext>
            </a:extLst>
          </p:cNvPr>
          <p:cNvSpPr/>
          <p:nvPr/>
        </p:nvSpPr>
        <p:spPr>
          <a:xfrm flipH="1">
            <a:off x="-2" y="-35942"/>
            <a:ext cx="3990325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5" name="Título 30">
            <a:extLst>
              <a:ext uri="{FF2B5EF4-FFF2-40B4-BE49-F238E27FC236}">
                <a16:creationId xmlns:a16="http://schemas.microsoft.com/office/drawing/2014/main" xmlns="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27980" y="652049"/>
            <a:ext cx="6182408" cy="610116"/>
          </a:xfrm>
        </p:spPr>
        <p:txBody>
          <a:bodyPr>
            <a:normAutofit/>
          </a:bodyPr>
          <a:lstStyle/>
          <a:p>
            <a:r>
              <a:rPr lang="es-CL" sz="25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Protocolo PREXO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A3B8A021-59C7-5841-BE28-5D47A1293FF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3616F65-85D4-1745-840A-BE855E960326}"/>
              </a:ext>
            </a:extLst>
          </p:cNvPr>
          <p:cNvSpPr/>
          <p:nvPr/>
        </p:nvSpPr>
        <p:spPr>
          <a:xfrm>
            <a:off x="527215" y="2268314"/>
            <a:ext cx="328867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100" b="1" dirty="0">
                <a:solidFill>
                  <a:srgbClr val="0C662F"/>
                </a:solidFill>
                <a:latin typeface="ACHS Nueva Serif" pitchFamily="2" charset="77"/>
                <a:cs typeface="Calibri" panose="020F0502020204030204" pitchFamily="34" charset="0"/>
              </a:rPr>
              <a:t>Criterios de evaluación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:a16="http://schemas.microsoft.com/office/drawing/2014/main" xmlns="" id="{A85A8BBF-2E25-9F4D-B477-D07F091A187D}"/>
              </a:ext>
            </a:extLst>
          </p:cNvPr>
          <p:cNvSpPr/>
          <p:nvPr/>
        </p:nvSpPr>
        <p:spPr>
          <a:xfrm>
            <a:off x="0" y="4492198"/>
            <a:ext cx="3996557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700" b="1" dirty="0">
                <a:solidFill>
                  <a:srgbClr val="15C047"/>
                </a:solidFill>
                <a:latin typeface="ACHS Nueva Serif" pitchFamily="2" charset="77"/>
                <a:cs typeface="Arial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6804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3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Cursos">
  <a:themeElements>
    <a:clrScheme name="Achs3 1">
      <a:dk1>
        <a:srgbClr val="0C662F"/>
      </a:dk1>
      <a:lt1>
        <a:srgbClr val="FFFFFF"/>
      </a:lt1>
      <a:dk2>
        <a:srgbClr val="616161"/>
      </a:dk2>
      <a:lt2>
        <a:srgbClr val="83B727"/>
      </a:lt2>
      <a:accent1>
        <a:srgbClr val="00857D"/>
      </a:accent1>
      <a:accent2>
        <a:srgbClr val="F2E500"/>
      </a:accent2>
      <a:accent3>
        <a:srgbClr val="8A8A8A"/>
      </a:accent3>
      <a:accent4>
        <a:srgbClr val="6BBBAE"/>
      </a:accent4>
      <a:accent5>
        <a:srgbClr val="ECC3B2"/>
      </a:accent5>
      <a:accent6>
        <a:srgbClr val="890C58"/>
      </a:accent6>
      <a:hlink>
        <a:srgbClr val="83BD00"/>
      </a:hlink>
      <a:folHlink>
        <a:srgbClr val="004F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Cursos" id="{96174EF1-8331-8045-959A-A6FB4647A317}" vid="{C83503E1-D048-A04D-B18C-3A138303575F}"/>
    </a:ext>
  </a:extLst>
</a:theme>
</file>

<file path=ppt/theme/theme3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15224AA9-D92E-4846-A528-CFD9AA304790}"/>
</file>

<file path=customXml/itemProps2.xml><?xml version="1.0" encoding="utf-8"?>
<ds:datastoreItem xmlns:ds="http://schemas.openxmlformats.org/officeDocument/2006/customXml" ds:itemID="{E17B1FD4-FBEB-4CFC-A8D0-B27B5F196425}"/>
</file>

<file path=customXml/itemProps3.xml><?xml version="1.0" encoding="utf-8"?>
<ds:datastoreItem xmlns:ds="http://schemas.openxmlformats.org/officeDocument/2006/customXml" ds:itemID="{C9762C32-409E-45C0-B4F6-4C593CE63E53}"/>
</file>

<file path=docProps/app.xml><?xml version="1.0" encoding="utf-8"?>
<Properties xmlns="http://schemas.openxmlformats.org/officeDocument/2006/extended-properties" xmlns:vt="http://schemas.openxmlformats.org/officeDocument/2006/docPropsVTypes">
  <TotalTime>2951</TotalTime>
  <Words>2144</Words>
  <Application>Microsoft Office PowerPoint</Application>
  <PresentationFormat>Personalizado</PresentationFormat>
  <Paragraphs>338</Paragraphs>
  <Slides>32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2</vt:i4>
      </vt:variant>
    </vt:vector>
  </HeadingPairs>
  <TitlesOfParts>
    <vt:vector size="48" baseType="lpstr">
      <vt:lpstr>ACHS Nueva Sans ExtraBold</vt:lpstr>
      <vt:lpstr>ACHS Nueva Sans Medium</vt:lpstr>
      <vt:lpstr>ACHS Nueva Sans SemiBold</vt:lpstr>
      <vt:lpstr>ACHS Nueva Serif</vt:lpstr>
      <vt:lpstr>Arial</vt:lpstr>
      <vt:lpstr>Barlow Regular</vt:lpstr>
      <vt:lpstr>Calibri</vt:lpstr>
      <vt:lpstr>Calibri Light</vt:lpstr>
      <vt:lpstr>Catamaran Light</vt:lpstr>
      <vt:lpstr>Helvetica Neue Medium</vt:lpstr>
      <vt:lpstr>Trebuchet MS</vt:lpstr>
      <vt:lpstr>Wingdings</vt:lpstr>
      <vt:lpstr>Office Theme</vt:lpstr>
      <vt:lpstr>TemaCursos</vt:lpstr>
      <vt:lpstr>2_Tema de Office</vt:lpstr>
      <vt:lpstr>Diapositiva de think-cell</vt:lpstr>
      <vt:lpstr>Presentación de PowerPoint</vt:lpstr>
      <vt:lpstr>Antes de comenzar</vt:lpstr>
      <vt:lpstr>Presentación de PowerPoint</vt:lpstr>
      <vt:lpstr>Presentación de PowerPoint</vt:lpstr>
      <vt:lpstr>Presentación de PowerPoint</vt:lpstr>
      <vt:lpstr>Protocolo PREXOR</vt:lpstr>
      <vt:lpstr>Protocolo PREXOR</vt:lpstr>
      <vt:lpstr>Protocolo PREXOR</vt:lpstr>
      <vt:lpstr>Protocolo PREXOR</vt:lpstr>
      <vt:lpstr>Protocolo PREXOR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nne MV</dc:creator>
  <cp:lastModifiedBy>Saldaño Carreño, Carlos Antonio</cp:lastModifiedBy>
  <cp:revision>149</cp:revision>
  <dcterms:created xsi:type="dcterms:W3CDTF">2018-04-16T12:09:27Z</dcterms:created>
  <dcterms:modified xsi:type="dcterms:W3CDTF">2024-03-25T13:3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92CA822-3557-46ED-A693-AF42469212ED</vt:lpwstr>
  </property>
  <property fmtid="{D5CDD505-2E9C-101B-9397-08002B2CF9AE}" pid="3" name="ArticulatePath">
    <vt:lpwstr>AM_Protocolo_PREXOR</vt:lpwstr>
  </property>
  <property fmtid="{D5CDD505-2E9C-101B-9397-08002B2CF9AE}" pid="4" name="ContentTypeId">
    <vt:lpwstr>0x0101007C36543F3D857D488921B9E8F0F0A212</vt:lpwstr>
  </property>
</Properties>
</file>